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3" r:id="rId4"/>
  </p:sldMasterIdLst>
  <p:notesMasterIdLst>
    <p:notesMasterId r:id="rId16"/>
  </p:notesMasterIdLst>
  <p:handoutMasterIdLst>
    <p:handoutMasterId r:id="rId17"/>
  </p:handoutMasterIdLst>
  <p:sldIdLst>
    <p:sldId id="678" r:id="rId5"/>
    <p:sldId id="871" r:id="rId6"/>
    <p:sldId id="884" r:id="rId7"/>
    <p:sldId id="743" r:id="rId8"/>
    <p:sldId id="877" r:id="rId9"/>
    <p:sldId id="886" r:id="rId10"/>
    <p:sldId id="874" r:id="rId11"/>
    <p:sldId id="876" r:id="rId12"/>
    <p:sldId id="879" r:id="rId13"/>
    <p:sldId id="880" r:id="rId14"/>
    <p:sldId id="881"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C1B"/>
    <a:srgbClr val="212120"/>
    <a:srgbClr val="1E1E1E"/>
    <a:srgbClr val="F2F2F2"/>
    <a:srgbClr val="FFFFFF"/>
    <a:srgbClr val="FAFAFA"/>
    <a:srgbClr val="FCFDFC"/>
    <a:srgbClr val="FBFBFB"/>
    <a:srgbClr val="323232"/>
    <a:srgbClr val="1717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7B628A-FC2B-497F-97B4-7867DAE60AC4}" v="3" dt="2023-08-02T06:05:09.7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01" autoAdjust="0"/>
  </p:normalViewPr>
  <p:slideViewPr>
    <p:cSldViewPr snapToGrid="0" snapToObjects="1">
      <p:cViewPr varScale="1">
        <p:scale>
          <a:sx n="70" d="100"/>
          <a:sy n="70" d="100"/>
        </p:scale>
        <p:origin x="738" y="60"/>
      </p:cViewPr>
      <p:guideLst/>
    </p:cSldViewPr>
  </p:slideViewPr>
  <p:outlineViewPr>
    <p:cViewPr>
      <p:scale>
        <a:sx n="33" d="100"/>
        <a:sy n="33" d="100"/>
      </p:scale>
      <p:origin x="0" y="-5412"/>
    </p:cViewPr>
  </p:outlineViewPr>
  <p:notesTextViewPr>
    <p:cViewPr>
      <p:scale>
        <a:sx n="1" d="1"/>
        <a:sy n="1" d="1"/>
      </p:scale>
      <p:origin x="0" y="0"/>
    </p:cViewPr>
  </p:notesTextViewPr>
  <p:notesViewPr>
    <p:cSldViewPr snapToGrid="0" snapToObjects="1">
      <p:cViewPr varScale="1">
        <p:scale>
          <a:sx n="96" d="100"/>
          <a:sy n="96" d="100"/>
        </p:scale>
        <p:origin x="2480"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ED6D1-07B9-0A42-A27C-34D814EA2D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D951DB9-4CB8-2741-8664-70D4FFAC02A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DA0D1C6-B41D-4148-AA5A-BA40E51CC204}" type="datetimeFigureOut">
              <a:rPr lang="en-US" smtClean="0"/>
              <a:t>8/21/2023</a:t>
            </a:fld>
            <a:endParaRPr lang="en-US"/>
          </a:p>
        </p:txBody>
      </p:sp>
      <p:sp>
        <p:nvSpPr>
          <p:cNvPr id="4" name="Footer Placeholder 3">
            <a:extLst>
              <a:ext uri="{FF2B5EF4-FFF2-40B4-BE49-F238E27FC236}">
                <a16:creationId xmlns:a16="http://schemas.microsoft.com/office/drawing/2014/main" id="{E7C876BD-6035-8747-A207-EBA3847C7A5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AC1351-4D53-9D4D-AB8D-BC94A1FBA2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03659A-8A94-9E4F-9C14-A28B34B02048}" type="slidenum">
              <a:rPr lang="en-US" smtClean="0"/>
              <a:t>‹#›</a:t>
            </a:fld>
            <a:endParaRPr lang="en-US"/>
          </a:p>
        </p:txBody>
      </p:sp>
    </p:spTree>
    <p:extLst>
      <p:ext uri="{BB962C8B-B14F-4D97-AF65-F5344CB8AC3E}">
        <p14:creationId xmlns:p14="http://schemas.microsoft.com/office/powerpoint/2010/main" val="3206488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F8AA97-E068-7A42-802E-2E600B147BB0}" type="datetimeFigureOut">
              <a:rPr lang="en-US" smtClean="0"/>
              <a:t>8/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1B1CE9-2D24-3244-9893-CE744E9841FC}" type="slidenum">
              <a:rPr lang="en-US" smtClean="0"/>
              <a:t>‹#›</a:t>
            </a:fld>
            <a:endParaRPr lang="en-US"/>
          </a:p>
        </p:txBody>
      </p:sp>
    </p:spTree>
    <p:extLst>
      <p:ext uri="{BB962C8B-B14F-4D97-AF65-F5344CB8AC3E}">
        <p14:creationId xmlns:p14="http://schemas.microsoft.com/office/powerpoint/2010/main" val="530748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s://www.linkedin.com/company/capco" TargetMode="External"/><Relationship Id="rId18" Type="http://schemas.openxmlformats.org/officeDocument/2006/relationships/image" Target="../media/image34.svg"/><Relationship Id="rId3" Type="http://schemas.openxmlformats.org/officeDocument/2006/relationships/image" Target="../media/image24.svg"/><Relationship Id="rId7" Type="http://schemas.openxmlformats.org/officeDocument/2006/relationships/hyperlink" Target="https://www.youtube.com/capco_global" TargetMode="External"/><Relationship Id="rId12" Type="http://schemas.openxmlformats.org/officeDocument/2006/relationships/image" Target="../media/image30.svg"/><Relationship Id="rId17" Type="http://schemas.openxmlformats.org/officeDocument/2006/relationships/image" Target="../media/image33.png"/><Relationship Id="rId2" Type="http://schemas.openxmlformats.org/officeDocument/2006/relationships/image" Target="../media/image23.png"/><Relationship Id="rId16" Type="http://schemas.openxmlformats.org/officeDocument/2006/relationships/hyperlink" Target="https://www.capco.com/" TargetMode="External"/><Relationship Id="rId1" Type="http://schemas.openxmlformats.org/officeDocument/2006/relationships/slideMaster" Target="../slideMasters/slideMaster1.xml"/><Relationship Id="rId6" Type="http://schemas.openxmlformats.org/officeDocument/2006/relationships/image" Target="../media/image26.svg"/><Relationship Id="rId11" Type="http://schemas.openxmlformats.org/officeDocument/2006/relationships/image" Target="../media/image29.png"/><Relationship Id="rId5" Type="http://schemas.openxmlformats.org/officeDocument/2006/relationships/image" Target="../media/image25.png"/><Relationship Id="rId15" Type="http://schemas.openxmlformats.org/officeDocument/2006/relationships/image" Target="../media/image32.svg"/><Relationship Id="rId10" Type="http://schemas.openxmlformats.org/officeDocument/2006/relationships/hyperlink" Target="https://www.instagram.com/lifeatcapco/" TargetMode="External"/><Relationship Id="rId19" Type="http://schemas.openxmlformats.org/officeDocument/2006/relationships/hyperlink" Target="http://www.capco.com/" TargetMode="External"/><Relationship Id="rId4" Type="http://schemas.openxmlformats.org/officeDocument/2006/relationships/hyperlink" Target="https://www.facebook.com/capcoglobal" TargetMode="External"/><Relationship Id="rId9" Type="http://schemas.openxmlformats.org/officeDocument/2006/relationships/image" Target="../media/image28.svg"/><Relationship Id="rId14" Type="http://schemas.openxmlformats.org/officeDocument/2006/relationships/image" Target="../media/image31.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s://www.linkedin.com/company/capco" TargetMode="External"/><Relationship Id="rId18" Type="http://schemas.openxmlformats.org/officeDocument/2006/relationships/image" Target="../media/image38.svg"/><Relationship Id="rId3" Type="http://schemas.openxmlformats.org/officeDocument/2006/relationships/image" Target="../media/image36.svg"/><Relationship Id="rId7" Type="http://schemas.openxmlformats.org/officeDocument/2006/relationships/hyperlink" Target="https://www.youtube.com/capco_global" TargetMode="External"/><Relationship Id="rId12" Type="http://schemas.openxmlformats.org/officeDocument/2006/relationships/image" Target="../media/image30.svg"/><Relationship Id="rId17" Type="http://schemas.openxmlformats.org/officeDocument/2006/relationships/image" Target="../media/image37.png"/><Relationship Id="rId2" Type="http://schemas.openxmlformats.org/officeDocument/2006/relationships/image" Target="../media/image35.png"/><Relationship Id="rId16" Type="http://schemas.openxmlformats.org/officeDocument/2006/relationships/hyperlink" Target="https://www.capco.com/" TargetMode="External"/><Relationship Id="rId1" Type="http://schemas.openxmlformats.org/officeDocument/2006/relationships/slideMaster" Target="../slideMasters/slideMaster1.xml"/><Relationship Id="rId6" Type="http://schemas.openxmlformats.org/officeDocument/2006/relationships/image" Target="../media/image26.svg"/><Relationship Id="rId11" Type="http://schemas.openxmlformats.org/officeDocument/2006/relationships/image" Target="../media/image29.png"/><Relationship Id="rId5" Type="http://schemas.openxmlformats.org/officeDocument/2006/relationships/image" Target="../media/image25.png"/><Relationship Id="rId15" Type="http://schemas.openxmlformats.org/officeDocument/2006/relationships/image" Target="../media/image32.svg"/><Relationship Id="rId10" Type="http://schemas.openxmlformats.org/officeDocument/2006/relationships/hyperlink" Target="https://www.instagram.com/lifeatcapco/" TargetMode="External"/><Relationship Id="rId19" Type="http://schemas.openxmlformats.org/officeDocument/2006/relationships/hyperlink" Target="http://www.capco.com/" TargetMode="External"/><Relationship Id="rId4" Type="http://schemas.openxmlformats.org/officeDocument/2006/relationships/hyperlink" Target="https://www.facebook.com/capcoglobal" TargetMode="External"/><Relationship Id="rId9" Type="http://schemas.openxmlformats.org/officeDocument/2006/relationships/image" Target="../media/image28.svg"/><Relationship Id="rId14" Type="http://schemas.openxmlformats.org/officeDocument/2006/relationships/image" Target="../media/image31.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6.jpeg"/><Relationship Id="rId16" Type="http://schemas.openxmlformats.org/officeDocument/2006/relationships/image" Target="../media/image32.svg"/><Relationship Id="rId20" Type="http://schemas.openxmlformats.org/officeDocument/2006/relationships/hyperlink" Target="http://www.capco.com/" TargetMode="External"/><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4.svg"/><Relationship Id="rId4" Type="http://schemas.openxmlformats.org/officeDocument/2006/relationships/image" Target="../media/image24.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7.jpeg"/><Relationship Id="rId16" Type="http://schemas.openxmlformats.org/officeDocument/2006/relationships/image" Target="../media/image32.svg"/><Relationship Id="rId20" Type="http://schemas.openxmlformats.org/officeDocument/2006/relationships/hyperlink" Target="http://www.capco.com/" TargetMode="External"/><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4.svg"/><Relationship Id="rId4" Type="http://schemas.openxmlformats.org/officeDocument/2006/relationships/image" Target="../media/image24.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7.png"/><Relationship Id="rId3" Type="http://schemas.openxmlformats.org/officeDocument/2006/relationships/image" Target="../media/image35.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8.jpg"/><Relationship Id="rId16" Type="http://schemas.openxmlformats.org/officeDocument/2006/relationships/image" Target="../media/image32.svg"/><Relationship Id="rId20" Type="http://schemas.openxmlformats.org/officeDocument/2006/relationships/hyperlink" Target="http://www.capco.com/" TargetMode="External"/><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8.svg"/><Relationship Id="rId4" Type="http://schemas.openxmlformats.org/officeDocument/2006/relationships/image" Target="../media/image36.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7.png"/><Relationship Id="rId3" Type="http://schemas.openxmlformats.org/officeDocument/2006/relationships/image" Target="../media/image35.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9.jpeg"/><Relationship Id="rId16" Type="http://schemas.openxmlformats.org/officeDocument/2006/relationships/image" Target="../media/image32.svg"/><Relationship Id="rId20" Type="http://schemas.openxmlformats.org/officeDocument/2006/relationships/hyperlink" Target="http://www.capco.com/" TargetMode="External"/><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8.svg"/><Relationship Id="rId4" Type="http://schemas.openxmlformats.org/officeDocument/2006/relationships/image" Target="../media/image36.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s://www.linkedin.com/company/capco" TargetMode="External"/><Relationship Id="rId18" Type="http://schemas.openxmlformats.org/officeDocument/2006/relationships/image" Target="../media/image34.svg"/><Relationship Id="rId3" Type="http://schemas.openxmlformats.org/officeDocument/2006/relationships/image" Target="../media/image24.svg"/><Relationship Id="rId7" Type="http://schemas.openxmlformats.org/officeDocument/2006/relationships/hyperlink" Target="https://www.youtube.com/capco_global" TargetMode="External"/><Relationship Id="rId12" Type="http://schemas.openxmlformats.org/officeDocument/2006/relationships/image" Target="../media/image30.svg"/><Relationship Id="rId17" Type="http://schemas.openxmlformats.org/officeDocument/2006/relationships/image" Target="../media/image33.png"/><Relationship Id="rId2" Type="http://schemas.openxmlformats.org/officeDocument/2006/relationships/image" Target="../media/image23.png"/><Relationship Id="rId16" Type="http://schemas.openxmlformats.org/officeDocument/2006/relationships/hyperlink" Target="https://www.capco.com/" TargetMode="External"/><Relationship Id="rId1" Type="http://schemas.openxmlformats.org/officeDocument/2006/relationships/slideMaster" Target="../slideMasters/slideMaster1.xml"/><Relationship Id="rId6" Type="http://schemas.openxmlformats.org/officeDocument/2006/relationships/image" Target="../media/image26.svg"/><Relationship Id="rId11" Type="http://schemas.openxmlformats.org/officeDocument/2006/relationships/image" Target="../media/image29.png"/><Relationship Id="rId5" Type="http://schemas.openxmlformats.org/officeDocument/2006/relationships/image" Target="../media/image25.png"/><Relationship Id="rId15" Type="http://schemas.openxmlformats.org/officeDocument/2006/relationships/image" Target="../media/image32.svg"/><Relationship Id="rId10" Type="http://schemas.openxmlformats.org/officeDocument/2006/relationships/hyperlink" Target="https://www.instagram.com/lifeatcapco/" TargetMode="External"/><Relationship Id="rId4" Type="http://schemas.openxmlformats.org/officeDocument/2006/relationships/hyperlink" Target="https://www.facebook.com/capcoglobal" TargetMode="External"/><Relationship Id="rId9" Type="http://schemas.openxmlformats.org/officeDocument/2006/relationships/image" Target="../media/image28.svg"/><Relationship Id="rId14" Type="http://schemas.openxmlformats.org/officeDocument/2006/relationships/image" Target="../media/image31.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s://www.linkedin.com/company/capco" TargetMode="External"/><Relationship Id="rId18" Type="http://schemas.openxmlformats.org/officeDocument/2006/relationships/image" Target="../media/image38.svg"/><Relationship Id="rId3" Type="http://schemas.openxmlformats.org/officeDocument/2006/relationships/image" Target="../media/image36.svg"/><Relationship Id="rId7" Type="http://schemas.openxmlformats.org/officeDocument/2006/relationships/hyperlink" Target="https://www.youtube.com/capco_global" TargetMode="External"/><Relationship Id="rId12" Type="http://schemas.openxmlformats.org/officeDocument/2006/relationships/image" Target="../media/image30.svg"/><Relationship Id="rId17" Type="http://schemas.openxmlformats.org/officeDocument/2006/relationships/image" Target="../media/image37.png"/><Relationship Id="rId2" Type="http://schemas.openxmlformats.org/officeDocument/2006/relationships/image" Target="../media/image35.png"/><Relationship Id="rId16" Type="http://schemas.openxmlformats.org/officeDocument/2006/relationships/hyperlink" Target="https://www.capco.com/" TargetMode="External"/><Relationship Id="rId1" Type="http://schemas.openxmlformats.org/officeDocument/2006/relationships/slideMaster" Target="../slideMasters/slideMaster1.xml"/><Relationship Id="rId6" Type="http://schemas.openxmlformats.org/officeDocument/2006/relationships/image" Target="../media/image26.svg"/><Relationship Id="rId11" Type="http://schemas.openxmlformats.org/officeDocument/2006/relationships/image" Target="../media/image29.png"/><Relationship Id="rId5" Type="http://schemas.openxmlformats.org/officeDocument/2006/relationships/image" Target="../media/image25.png"/><Relationship Id="rId15" Type="http://schemas.openxmlformats.org/officeDocument/2006/relationships/image" Target="../media/image32.svg"/><Relationship Id="rId10" Type="http://schemas.openxmlformats.org/officeDocument/2006/relationships/hyperlink" Target="https://www.instagram.com/lifeatcapco/" TargetMode="External"/><Relationship Id="rId4" Type="http://schemas.openxmlformats.org/officeDocument/2006/relationships/hyperlink" Target="https://www.facebook.com/capcoglobal" TargetMode="External"/><Relationship Id="rId9" Type="http://schemas.openxmlformats.org/officeDocument/2006/relationships/image" Target="../media/image28.svg"/><Relationship Id="rId14" Type="http://schemas.openxmlformats.org/officeDocument/2006/relationships/image" Target="../media/image31.png"/></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6.jpeg"/><Relationship Id="rId16" Type="http://schemas.openxmlformats.org/officeDocument/2006/relationships/image" Target="../media/image32.svg"/><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4.svg"/><Relationship Id="rId4" Type="http://schemas.openxmlformats.org/officeDocument/2006/relationships/image" Target="../media/image24.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7.jpeg"/><Relationship Id="rId16" Type="http://schemas.openxmlformats.org/officeDocument/2006/relationships/image" Target="../media/image32.svg"/><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4.svg"/><Relationship Id="rId4" Type="http://schemas.openxmlformats.org/officeDocument/2006/relationships/image" Target="../media/image24.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7.png"/><Relationship Id="rId3" Type="http://schemas.openxmlformats.org/officeDocument/2006/relationships/image" Target="../media/image35.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8.jpg"/><Relationship Id="rId16" Type="http://schemas.openxmlformats.org/officeDocument/2006/relationships/image" Target="../media/image32.svg"/><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8.svg"/><Relationship Id="rId4" Type="http://schemas.openxmlformats.org/officeDocument/2006/relationships/image" Target="../media/image36.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youtube.com/capco_global" TargetMode="External"/><Relationship Id="rId13" Type="http://schemas.openxmlformats.org/officeDocument/2006/relationships/image" Target="../media/image30.svg"/><Relationship Id="rId18" Type="http://schemas.openxmlformats.org/officeDocument/2006/relationships/image" Target="../media/image37.png"/><Relationship Id="rId3" Type="http://schemas.openxmlformats.org/officeDocument/2006/relationships/image" Target="../media/image35.png"/><Relationship Id="rId7" Type="http://schemas.openxmlformats.org/officeDocument/2006/relationships/image" Target="../media/image26.svg"/><Relationship Id="rId12" Type="http://schemas.openxmlformats.org/officeDocument/2006/relationships/image" Target="../media/image29.png"/><Relationship Id="rId17" Type="http://schemas.openxmlformats.org/officeDocument/2006/relationships/hyperlink" Target="https://www.capco.com/" TargetMode="External"/><Relationship Id="rId2" Type="http://schemas.openxmlformats.org/officeDocument/2006/relationships/image" Target="../media/image9.jpeg"/><Relationship Id="rId16" Type="http://schemas.openxmlformats.org/officeDocument/2006/relationships/image" Target="../media/image32.svg"/><Relationship Id="rId1" Type="http://schemas.openxmlformats.org/officeDocument/2006/relationships/slideMaster" Target="../slideMasters/slideMaster1.xml"/><Relationship Id="rId6" Type="http://schemas.openxmlformats.org/officeDocument/2006/relationships/image" Target="../media/image25.png"/><Relationship Id="rId11" Type="http://schemas.openxmlformats.org/officeDocument/2006/relationships/hyperlink" Target="https://www.instagram.com/lifeatcapco/" TargetMode="External"/><Relationship Id="rId5" Type="http://schemas.openxmlformats.org/officeDocument/2006/relationships/hyperlink" Target="https://www.facebook.com/capcoglobal" TargetMode="External"/><Relationship Id="rId15" Type="http://schemas.openxmlformats.org/officeDocument/2006/relationships/image" Target="../media/image31.png"/><Relationship Id="rId10" Type="http://schemas.openxmlformats.org/officeDocument/2006/relationships/image" Target="../media/image28.svg"/><Relationship Id="rId19" Type="http://schemas.openxmlformats.org/officeDocument/2006/relationships/image" Target="../media/image38.svg"/><Relationship Id="rId4" Type="http://schemas.openxmlformats.org/officeDocument/2006/relationships/image" Target="../media/image36.svg"/><Relationship Id="rId9" Type="http://schemas.openxmlformats.org/officeDocument/2006/relationships/image" Target="../media/image27.png"/><Relationship Id="rId14" Type="http://schemas.openxmlformats.org/officeDocument/2006/relationships/hyperlink" Target="https://www.linkedin.com/company/capco"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3EFA89F-1975-4B07-89C5-B31C56C1BA44}"/>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1" name="Freeform: Shape 10">
              <a:extLst>
                <a:ext uri="{FF2B5EF4-FFF2-40B4-BE49-F238E27FC236}">
                  <a16:creationId xmlns:a16="http://schemas.microsoft.com/office/drawing/2014/main" id="{84E3E9D9-5964-4311-A041-B9F91395C865}"/>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D20D1630-BEF4-4E3F-8F83-7BEF28BA7E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775BFA70-46D5-4F99-A050-D6DB73B947CD}"/>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C268457A-F3A7-4A24-AE86-779CBC65712F}"/>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C05B3D25-F158-4888-A710-D9AD48632443}"/>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20" name="Graphic 19">
            <a:extLst>
              <a:ext uri="{FF2B5EF4-FFF2-40B4-BE49-F238E27FC236}">
                <a16:creationId xmlns:a16="http://schemas.microsoft.com/office/drawing/2014/main" id="{5EADD56E-007D-4B2B-82D1-DC0571B5D2E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0592" y="6241691"/>
            <a:ext cx="1204913" cy="155425"/>
          </a:xfrm>
          <a:prstGeom prst="rect">
            <a:avLst/>
          </a:prstGeom>
        </p:spPr>
      </p:pic>
      <p:sp>
        <p:nvSpPr>
          <p:cNvPr id="18" name="Picture Placeholder 23">
            <a:extLst>
              <a:ext uri="{FF2B5EF4-FFF2-40B4-BE49-F238E27FC236}">
                <a16:creationId xmlns:a16="http://schemas.microsoft.com/office/drawing/2014/main" id="{24C4BE84-8A7F-8E4E-8AEF-D1E6C1AD1575}"/>
              </a:ext>
              <a:ext uri="{C183D7F6-B498-43B3-948B-1728B52AA6E4}">
                <adec:decorative xmlns:adec="http://schemas.microsoft.com/office/drawing/2017/decorative" val="1"/>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5394105" cy="720197"/>
          </a:xfrm>
          <a:blipFill dpi="0" rotWithShape="1">
            <a:blip r:embed="rId4"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cap="none" baseline="0"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50000"/>
                  </a:schemeClr>
                </a:solidFill>
                <a:latin typeface="Century Gothic" panose="020B0502020202020204" pitchFamily="34" charset="0"/>
              </a:defRPr>
            </a:lvl1pPr>
          </a:lstStyle>
          <a:p>
            <a:pPr lvl="0"/>
            <a:r>
              <a:rPr lang="en-US" dirty="0"/>
              <a:t>Subtitle goes here</a:t>
            </a:r>
          </a:p>
        </p:txBody>
      </p:sp>
      <p:sp>
        <p:nvSpPr>
          <p:cNvPr id="3" name="Text Placeholder 2">
            <a:extLst>
              <a:ext uri="{FF2B5EF4-FFF2-40B4-BE49-F238E27FC236}">
                <a16:creationId xmlns:a16="http://schemas.microsoft.com/office/drawing/2014/main" id="{97019D08-9373-EC47-B920-8FE5EF9F8665}"/>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5" name="Text Placeholder 4">
            <a:extLst>
              <a:ext uri="{FF2B5EF4-FFF2-40B4-BE49-F238E27FC236}">
                <a16:creationId xmlns:a16="http://schemas.microsoft.com/office/drawing/2014/main" id="{09FA1A14-8C57-C547-B2E7-25836164BF46}"/>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0" name="Text Placeholder 9">
            <a:extLst>
              <a:ext uri="{FF2B5EF4-FFF2-40B4-BE49-F238E27FC236}">
                <a16:creationId xmlns:a16="http://schemas.microsoft.com/office/drawing/2014/main" id="{2FFDB0C6-EF22-FE4A-B905-24FE19A1DAE9}"/>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1598593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DCE3932-D351-41C6-AF8E-0B2D85A0E6DD}"/>
              </a:ext>
              <a:ext uri="{C183D7F6-B498-43B3-948B-1728B52AA6E4}">
                <adec:decorative xmlns:adec="http://schemas.microsoft.com/office/drawing/2017/decorative" val="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7" name="TextBox 6">
            <a:extLst>
              <a:ext uri="{FF2B5EF4-FFF2-40B4-BE49-F238E27FC236}">
                <a16:creationId xmlns:a16="http://schemas.microsoft.com/office/drawing/2014/main" id="{5F95D46E-54F8-4393-B949-4C64DD9EDCFE}"/>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9" name="TextBox 8">
            <a:extLst>
              <a:ext uri="{FF2B5EF4-FFF2-40B4-BE49-F238E27FC236}">
                <a16:creationId xmlns:a16="http://schemas.microsoft.com/office/drawing/2014/main" id="{DFF00D75-40A8-4C32-9517-3F5B6838121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782872" y="2427879"/>
            <a:ext cx="4626266"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3"/>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1485465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5">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A26DB37-DAB3-450A-8219-7F566491027F}"/>
              </a:ext>
              <a:ext uri="{C183D7F6-B498-43B3-948B-1728B52AA6E4}">
                <adec:decorative xmlns:adec="http://schemas.microsoft.com/office/drawing/2017/decorative" val="1"/>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5" name="TextBox 4">
            <a:extLst>
              <a:ext uri="{FF2B5EF4-FFF2-40B4-BE49-F238E27FC236}">
                <a16:creationId xmlns:a16="http://schemas.microsoft.com/office/drawing/2014/main" id="{F93C253A-F27B-4BA1-AC9D-F32B1C017880}"/>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66BFADD-8E3E-462E-8C5E-D84EFF3444A2}"/>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2545280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6">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BFEFE9A-8949-43BD-B8EA-A1FEE7AE3251}"/>
              </a:ext>
              <a:ext uri="{C183D7F6-B498-43B3-948B-1728B52AA6E4}">
                <adec:decorative xmlns:adec="http://schemas.microsoft.com/office/drawing/2017/decorative" val="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6" name="TextBox 5">
            <a:extLst>
              <a:ext uri="{FF2B5EF4-FFF2-40B4-BE49-F238E27FC236}">
                <a16:creationId xmlns:a16="http://schemas.microsoft.com/office/drawing/2014/main" id="{2EF92CE3-7FA7-46B5-BA55-39552BC8A4B8}"/>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7A988C22-FD43-453E-B622-F08A115595BE}"/>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1990047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genda 1">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EDEC939-85AE-4BE5-8FAB-5CD31FFF7BBA}"/>
              </a:ext>
              <a:ext uri="{C183D7F6-B498-43B3-948B-1728B52AA6E4}">
                <adec:decorative xmlns:adec="http://schemas.microsoft.com/office/drawing/2017/decorative" val="1"/>
              </a:ext>
            </a:extLst>
          </p:cNvPr>
          <p:cNvSpPr/>
          <p:nvPr userDrawn="1"/>
        </p:nvSpPr>
        <p:spPr>
          <a:xfrm>
            <a:off x="4800600" y="0"/>
            <a:ext cx="7391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ABF9905A-72BC-E242-9380-AFF457E115C3}"/>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1" name="TextBox 10">
            <a:extLst>
              <a:ext uri="{FF2B5EF4-FFF2-40B4-BE49-F238E27FC236}">
                <a16:creationId xmlns:a16="http://schemas.microsoft.com/office/drawing/2014/main" id="{5C9D780F-C3B6-4FD6-A35A-E53E78DFDF2B}"/>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9A8A817F-A3BB-A541-B694-B7C012DBAA20}"/>
              </a:ext>
            </a:extLst>
          </p:cNvPr>
          <p:cNvSpPr>
            <a:spLocks noGrp="1"/>
          </p:cNvSpPr>
          <p:nvPr>
            <p:ph type="title" hasCustomPrompt="1"/>
          </p:nvPr>
        </p:nvSpPr>
        <p:spPr>
          <a:xfrm>
            <a:off x="659438" y="1628775"/>
            <a:ext cx="3481722"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Table of contents</a:t>
            </a:r>
            <a:endParaRPr lang="en-GB" dirty="0"/>
          </a:p>
        </p:txBody>
      </p:sp>
      <p:sp>
        <p:nvSpPr>
          <p:cNvPr id="13" name="Footer Placeholder 3">
            <a:extLst>
              <a:ext uri="{FF2B5EF4-FFF2-40B4-BE49-F238E27FC236}">
                <a16:creationId xmlns:a16="http://schemas.microsoft.com/office/drawing/2014/main" id="{85A961E2-DF47-48FF-9D00-0BB648460B02}"/>
              </a:ext>
              <a:ext uri="{C183D7F6-B498-43B3-948B-1728B52AA6E4}">
                <adec:decorative xmlns:adec="http://schemas.microsoft.com/office/drawing/2017/decorative" val="0"/>
              </a:ext>
            </a:extLst>
          </p:cNvPr>
          <p:cNvSpPr>
            <a:spLocks noGrp="1"/>
          </p:cNvSpPr>
          <p:nvPr>
            <p:ph type="ftr" sz="quarter" idx="3"/>
          </p:nvPr>
        </p:nvSpPr>
        <p:spPr>
          <a:xfrm>
            <a:off x="5308599" y="6463172"/>
            <a:ext cx="6064250" cy="297962"/>
          </a:xfrm>
          <a:prstGeom prst="rect">
            <a:avLst/>
          </a:prstGeom>
          <a:noFill/>
        </p:spPr>
        <p:txBody>
          <a:bodyPr vert="horz" wrap="square" lIns="45720" tIns="36000" rIns="91440" bIns="45720" rtlCol="0" anchor="t" anchorCtr="0">
            <a:spAutoFit/>
          </a:bodyPr>
          <a:lstStyle>
            <a:lvl1pPr algn="l">
              <a:defRPr sz="700">
                <a:solidFill>
                  <a:schemeClr val="bg2">
                    <a:lumMod val="75000"/>
                  </a:schemeClr>
                </a:solidFill>
              </a:defRPr>
            </a:lvl1pPr>
          </a:lstStyle>
          <a:p>
            <a:r>
              <a:rPr lang="en-GB" dirty="0"/>
              <a:t>Footer can span </a:t>
            </a:r>
            <a:r>
              <a:rPr lang="en-US" dirty="0"/>
              <a:t>from one</a:t>
            </a:r>
            <a:endParaRPr lang="en-GB" dirty="0"/>
          </a:p>
          <a:p>
            <a:r>
              <a:rPr lang="sk-SK" dirty="0"/>
              <a:t>To </a:t>
            </a:r>
            <a:r>
              <a:rPr lang="en-US" dirty="0"/>
              <a:t>two</a:t>
            </a:r>
            <a:r>
              <a:rPr lang="sk-SK" dirty="0"/>
              <a:t> </a:t>
            </a:r>
            <a:r>
              <a:rPr lang="en-US" dirty="0"/>
              <a:t>lines</a:t>
            </a:r>
            <a:endParaRPr lang="en-GB" dirty="0"/>
          </a:p>
        </p:txBody>
      </p:sp>
    </p:spTree>
    <p:extLst>
      <p:ext uri="{BB962C8B-B14F-4D97-AF65-F5344CB8AC3E}">
        <p14:creationId xmlns:p14="http://schemas.microsoft.com/office/powerpoint/2010/main" val="4272250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genda 2">
    <p:bg>
      <p:bgPr>
        <a:solidFill>
          <a:schemeClr val="tx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02F074B-01AE-403A-B072-3BA8AF0A4FFF}"/>
              </a:ext>
              <a:ext uri="{C183D7F6-B498-43B3-948B-1728B52AA6E4}">
                <adec:decorative xmlns:adec="http://schemas.microsoft.com/office/drawing/2017/decorative" val="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16" name="Rectangle 15">
            <a:extLst>
              <a:ext uri="{FF2B5EF4-FFF2-40B4-BE49-F238E27FC236}">
                <a16:creationId xmlns:a16="http://schemas.microsoft.com/office/drawing/2014/main" id="{6F2D2211-0AAD-4892-8D07-53F00A70A20D}"/>
              </a:ext>
              <a:ext uri="{C183D7F6-B498-43B3-948B-1728B52AA6E4}">
                <adec:decorative xmlns:adec="http://schemas.microsoft.com/office/drawing/2017/decorative" val="1"/>
              </a:ext>
            </a:extLst>
          </p:cNvPr>
          <p:cNvSpPr/>
          <p:nvPr userDrawn="1"/>
        </p:nvSpPr>
        <p:spPr>
          <a:xfrm>
            <a:off x="4800600" y="0"/>
            <a:ext cx="7391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ABF9905A-72BC-E242-9380-AFF457E115C3}"/>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8" name="TextBox 17">
            <a:extLst>
              <a:ext uri="{FF2B5EF4-FFF2-40B4-BE49-F238E27FC236}">
                <a16:creationId xmlns:a16="http://schemas.microsoft.com/office/drawing/2014/main" id="{9B621346-FD56-42F3-8F70-CF5FFF5D188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9A8A817F-A3BB-A541-B694-B7C012DBAA20}"/>
              </a:ext>
            </a:extLst>
          </p:cNvPr>
          <p:cNvSpPr>
            <a:spLocks noGrp="1"/>
          </p:cNvSpPr>
          <p:nvPr>
            <p:ph type="title" hasCustomPrompt="1"/>
          </p:nvPr>
        </p:nvSpPr>
        <p:spPr>
          <a:xfrm>
            <a:off x="659438" y="1628775"/>
            <a:ext cx="3481722"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Table of contents</a:t>
            </a:r>
            <a:endParaRPr lang="en-GB" dirty="0"/>
          </a:p>
        </p:txBody>
      </p:sp>
      <p:sp>
        <p:nvSpPr>
          <p:cNvPr id="13" name="Footer Placeholder 3">
            <a:extLst>
              <a:ext uri="{FF2B5EF4-FFF2-40B4-BE49-F238E27FC236}">
                <a16:creationId xmlns:a16="http://schemas.microsoft.com/office/drawing/2014/main" id="{85A961E2-DF47-48FF-9D00-0BB648460B02}"/>
              </a:ext>
            </a:extLst>
          </p:cNvPr>
          <p:cNvSpPr>
            <a:spLocks noGrp="1"/>
          </p:cNvSpPr>
          <p:nvPr>
            <p:ph type="ftr" sz="quarter" idx="3"/>
          </p:nvPr>
        </p:nvSpPr>
        <p:spPr>
          <a:xfrm>
            <a:off x="5308599" y="6463172"/>
            <a:ext cx="6064250" cy="297962"/>
          </a:xfrm>
          <a:prstGeom prst="rect">
            <a:avLst/>
          </a:prstGeom>
          <a:noFill/>
        </p:spPr>
        <p:txBody>
          <a:bodyPr vert="horz" wrap="square" lIns="45720" tIns="36000" rIns="91440" bIns="45720" rtlCol="0" anchor="t" anchorCtr="0">
            <a:spAutoFit/>
          </a:bodyPr>
          <a:lstStyle>
            <a:lvl1pPr algn="l">
              <a:defRPr sz="700">
                <a:solidFill>
                  <a:schemeClr val="bg2">
                    <a:lumMod val="75000"/>
                  </a:schemeClr>
                </a:solidFill>
              </a:defRPr>
            </a:lvl1pPr>
          </a:lstStyle>
          <a:p>
            <a:r>
              <a:rPr lang="en-GB" dirty="0"/>
              <a:t>Footer can span </a:t>
            </a:r>
            <a:r>
              <a:rPr lang="en-US" dirty="0"/>
              <a:t>from one</a:t>
            </a:r>
            <a:endParaRPr lang="en-GB" dirty="0"/>
          </a:p>
          <a:p>
            <a:r>
              <a:rPr lang="sk-SK" dirty="0"/>
              <a:t>To </a:t>
            </a:r>
            <a:r>
              <a:rPr lang="en-US" dirty="0"/>
              <a:t>two</a:t>
            </a:r>
            <a:r>
              <a:rPr lang="sk-SK" dirty="0"/>
              <a:t> </a:t>
            </a:r>
            <a:r>
              <a:rPr lang="en-US" dirty="0"/>
              <a:t>lines</a:t>
            </a:r>
            <a:endParaRPr lang="en-GB" dirty="0"/>
          </a:p>
        </p:txBody>
      </p:sp>
    </p:spTree>
    <p:extLst>
      <p:ext uri="{BB962C8B-B14F-4D97-AF65-F5344CB8AC3E}">
        <p14:creationId xmlns:p14="http://schemas.microsoft.com/office/powerpoint/2010/main" val="1009446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2F2BF79-E433-4C83-961B-2EAE6A8F549F}"/>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AC01DEBC-3116-4ECA-94EF-E93345C8AE3F}"/>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3" name="Title Placeholder 1">
            <a:extLst>
              <a:ext uri="{FF2B5EF4-FFF2-40B4-BE49-F238E27FC236}">
                <a16:creationId xmlns:a16="http://schemas.microsoft.com/office/drawing/2014/main" id="{6C8ADDC2-4C84-FA48-BA04-D0FA072E2AA1}"/>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1386D10F-E62E-174F-95D7-9B1BE0041276}"/>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5" name="Text Placeholder 2">
            <a:extLst>
              <a:ext uri="{FF2B5EF4-FFF2-40B4-BE49-F238E27FC236}">
                <a16:creationId xmlns:a16="http://schemas.microsoft.com/office/drawing/2014/main" id="{E1E67912-0475-384F-A008-F57CB6F2F1F6}"/>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3">
            <a:extLst>
              <a:ext uri="{FF2B5EF4-FFF2-40B4-BE49-F238E27FC236}">
                <a16:creationId xmlns:a16="http://schemas.microsoft.com/office/drawing/2014/main" id="{DE987318-DEFF-4744-89E3-EAC3B2D0FCF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114749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ntent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AFA12A6-B113-4F3F-84CB-780823582AEB}"/>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3" name="TextBox 12">
            <a:extLst>
              <a:ext uri="{FF2B5EF4-FFF2-40B4-BE49-F238E27FC236}">
                <a16:creationId xmlns:a16="http://schemas.microsoft.com/office/drawing/2014/main" id="{55AB2767-9D6B-4D29-8789-1E4E964FE745}"/>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Placeholder 1">
            <a:extLst>
              <a:ext uri="{FF2B5EF4-FFF2-40B4-BE49-F238E27FC236}">
                <a16:creationId xmlns:a16="http://schemas.microsoft.com/office/drawing/2014/main" id="{F44C7811-ECC7-4E4E-AFCB-53079BD19807}"/>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bg1"/>
                </a:solidFill>
              </a:defRPr>
            </a:lvl1pPr>
          </a:lstStyle>
          <a:p>
            <a:r>
              <a:rPr lang="en-US"/>
              <a:t>Click to edit Master title style</a:t>
            </a:r>
            <a:endParaRPr lang="en-GB" dirty="0"/>
          </a:p>
        </p:txBody>
      </p:sp>
      <p:sp>
        <p:nvSpPr>
          <p:cNvPr id="10" name="Text Placeholder 7">
            <a:extLst>
              <a:ext uri="{FF2B5EF4-FFF2-40B4-BE49-F238E27FC236}">
                <a16:creationId xmlns:a16="http://schemas.microsoft.com/office/drawing/2014/main" id="{7491D4D4-DFC5-BF42-9AB0-781CE13ECFB1}"/>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11" name="Text Placeholder 2">
            <a:extLst>
              <a:ext uri="{FF2B5EF4-FFF2-40B4-BE49-F238E27FC236}">
                <a16:creationId xmlns:a16="http://schemas.microsoft.com/office/drawing/2014/main" id="{B25676AD-22D9-4FBC-B440-877E120B2E8F}"/>
              </a:ext>
            </a:extLst>
          </p:cNvPr>
          <p:cNvSpPr>
            <a:spLocks noGrp="1"/>
          </p:cNvSpPr>
          <p:nvPr>
            <p:ph idx="11"/>
          </p:nvPr>
        </p:nvSpPr>
        <p:spPr>
          <a:xfrm>
            <a:off x="542648" y="1629968"/>
            <a:ext cx="5065776"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2">
            <a:extLst>
              <a:ext uri="{FF2B5EF4-FFF2-40B4-BE49-F238E27FC236}">
                <a16:creationId xmlns:a16="http://schemas.microsoft.com/office/drawing/2014/main" id="{EB42C910-6145-46AD-A679-868F9239CED2}"/>
              </a:ext>
            </a:extLst>
          </p:cNvPr>
          <p:cNvSpPr>
            <a:spLocks noGrp="1"/>
          </p:cNvSpPr>
          <p:nvPr>
            <p:ph idx="12"/>
          </p:nvPr>
        </p:nvSpPr>
        <p:spPr>
          <a:xfrm>
            <a:off x="6575870" y="1629968"/>
            <a:ext cx="5065776"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3">
            <a:extLst>
              <a:ext uri="{FF2B5EF4-FFF2-40B4-BE49-F238E27FC236}">
                <a16:creationId xmlns:a16="http://schemas.microsoft.com/office/drawing/2014/main" id="{C58C6DEE-4C72-4F5D-B9D0-F98646E10F01}"/>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62660646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098AD6-53D4-4C78-ADEB-2301250FF9AE}"/>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6" name="TextBox 5">
            <a:extLst>
              <a:ext uri="{FF2B5EF4-FFF2-40B4-BE49-F238E27FC236}">
                <a16:creationId xmlns:a16="http://schemas.microsoft.com/office/drawing/2014/main" id="{94691081-69FD-4D59-A5BC-51E826AFA60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3" name="Title Placeholder 1">
            <a:extLst>
              <a:ext uri="{FF2B5EF4-FFF2-40B4-BE49-F238E27FC236}">
                <a16:creationId xmlns:a16="http://schemas.microsoft.com/office/drawing/2014/main" id="{6C8ADDC2-4C84-FA48-BA04-D0FA072E2AA1}"/>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1386D10F-E62E-174F-95D7-9B1BE0041276}"/>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7" name="Footer Placeholder 3">
            <a:extLst>
              <a:ext uri="{FF2B5EF4-FFF2-40B4-BE49-F238E27FC236}">
                <a16:creationId xmlns:a16="http://schemas.microsoft.com/office/drawing/2014/main" id="{182DB4FF-F32F-4EFD-83BA-6C7E4F63F279}"/>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467066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B1FB7C-192C-4DE8-87FE-6633856C496E}"/>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4" name="TextBox 3">
            <a:extLst>
              <a:ext uri="{FF2B5EF4-FFF2-40B4-BE49-F238E27FC236}">
                <a16:creationId xmlns:a16="http://schemas.microsoft.com/office/drawing/2014/main" id="{EBEF94D5-5946-4398-B434-18D1ECCF59B9}"/>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5" name="Footer Placeholder 3">
            <a:extLst>
              <a:ext uri="{FF2B5EF4-FFF2-40B4-BE49-F238E27FC236}">
                <a16:creationId xmlns:a16="http://schemas.microsoft.com/office/drawing/2014/main" id="{1F3E7769-97B7-4593-B177-BE7DF45ACF7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49941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Whi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302315-6827-40B3-A30B-0796A3D2E04B}"/>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1" name="TextBox 10">
            <a:extLst>
              <a:ext uri="{FF2B5EF4-FFF2-40B4-BE49-F238E27FC236}">
                <a16:creationId xmlns:a16="http://schemas.microsoft.com/office/drawing/2014/main" id="{5CE49E90-5CFA-4F45-AB72-151510CE825F}"/>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tx1"/>
                </a:solidFill>
              </a:defRPr>
            </a:lvl1pPr>
          </a:lstStyle>
          <a:p>
            <a:r>
              <a:rPr lang="en-US"/>
              <a:t>Click to edit Master title style</a:t>
            </a:r>
            <a:endParaRPr lang="en-GB" dirty="0"/>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72109085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8687F9E-FB0B-4A93-A8CB-697A87C22ADF}"/>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13" name="Freeform: Shape 12">
              <a:extLst>
                <a:ext uri="{FF2B5EF4-FFF2-40B4-BE49-F238E27FC236}">
                  <a16:creationId xmlns:a16="http://schemas.microsoft.com/office/drawing/2014/main" id="{761DC9FF-EB62-41E8-B299-9167CC092E0A}"/>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BF9FB7D-7EE9-4663-8E66-3BDA73C1F263}"/>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9C9DB120-D9B4-4E0A-97E4-A0374420F771}"/>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046F621E-6A36-4CBD-B751-B1C95B227F65}"/>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E09AB93F-0096-4017-A3AB-A1E87680A3E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21" name="Graphic 20">
            <a:extLst>
              <a:ext uri="{FF2B5EF4-FFF2-40B4-BE49-F238E27FC236}">
                <a16:creationId xmlns:a16="http://schemas.microsoft.com/office/drawing/2014/main" id="{D86B059C-232A-4A7F-9806-D82FA1ADACB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0592" y="6241691"/>
            <a:ext cx="1204913" cy="155425"/>
          </a:xfrm>
          <a:prstGeom prst="rect">
            <a:avLst/>
          </a:prstGeom>
        </p:spPr>
      </p:pic>
      <p:sp>
        <p:nvSpPr>
          <p:cNvPr id="15" name="Picture Placeholder 23">
            <a:extLst>
              <a:ext uri="{FF2B5EF4-FFF2-40B4-BE49-F238E27FC236}">
                <a16:creationId xmlns:a16="http://schemas.microsoft.com/office/drawing/2014/main" id="{E68D7FE1-FD1B-4463-BE52-0C7C40777065}"/>
              </a:ext>
              <a:ext uri="{C183D7F6-B498-43B3-948B-1728B52AA6E4}">
                <adec:decorative xmlns:adec="http://schemas.microsoft.com/office/drawing/2017/decorative" val="1"/>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10" name="Title 1">
            <a:extLst>
              <a:ext uri="{FF2B5EF4-FFF2-40B4-BE49-F238E27FC236}">
                <a16:creationId xmlns:a16="http://schemas.microsoft.com/office/drawing/2014/main" id="{B0B33B06-31A6-4D31-AE2E-97D9B2B3F2E6}"/>
              </a:ext>
            </a:extLst>
          </p:cNvPr>
          <p:cNvSpPr>
            <a:spLocks noGrp="1"/>
          </p:cNvSpPr>
          <p:nvPr>
            <p:ph type="title" hasCustomPrompt="1"/>
          </p:nvPr>
        </p:nvSpPr>
        <p:spPr>
          <a:xfrm>
            <a:off x="1085548" y="4755595"/>
            <a:ext cx="5394105" cy="720197"/>
          </a:xfrm>
          <a:blipFill dpi="0" rotWithShape="1">
            <a:blip r:embed="rId4"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cap="none" baseline="0" dirty="0">
                <a:solidFill>
                  <a:schemeClr val="bg1"/>
                </a:solidFill>
                <a:uFill>
                  <a:solidFill>
                    <a:schemeClr val="accent1"/>
                  </a:solidFill>
                </a:uFill>
              </a:defRPr>
            </a:lvl1pPr>
          </a:lstStyle>
          <a:p>
            <a:pPr lvl="0"/>
            <a:r>
              <a:rPr lang="en-US" dirty="0"/>
              <a:t>Presentation title goes here</a:t>
            </a:r>
            <a:endParaRPr lang="en-GB" dirty="0"/>
          </a:p>
        </p:txBody>
      </p:sp>
      <p:sp>
        <p:nvSpPr>
          <p:cNvPr id="11" name="Text Placeholder 3">
            <a:extLst>
              <a:ext uri="{FF2B5EF4-FFF2-40B4-BE49-F238E27FC236}">
                <a16:creationId xmlns:a16="http://schemas.microsoft.com/office/drawing/2014/main" id="{5E150238-E68B-4742-9D98-AD50CA73D981}"/>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75000"/>
                  </a:schemeClr>
                </a:solidFill>
                <a:latin typeface="Century Gothic" panose="020B0502020202020204" pitchFamily="34" charset="0"/>
              </a:defRPr>
            </a:lvl1pPr>
          </a:lstStyle>
          <a:p>
            <a:pPr lvl="0"/>
            <a:r>
              <a:rPr lang="en-US" dirty="0"/>
              <a:t>Subtitle goes here</a:t>
            </a:r>
          </a:p>
        </p:txBody>
      </p:sp>
      <p:sp>
        <p:nvSpPr>
          <p:cNvPr id="9" name="Text Placeholder 2">
            <a:extLst>
              <a:ext uri="{FF2B5EF4-FFF2-40B4-BE49-F238E27FC236}">
                <a16:creationId xmlns:a16="http://schemas.microsoft.com/office/drawing/2014/main" id="{58075BD1-D4DA-44D8-BEEC-045D2740876B}"/>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6" name="Text Placeholder 4">
            <a:extLst>
              <a:ext uri="{FF2B5EF4-FFF2-40B4-BE49-F238E27FC236}">
                <a16:creationId xmlns:a16="http://schemas.microsoft.com/office/drawing/2014/main" id="{0E40ED74-5B2D-4667-B898-1B6AABCDD123}"/>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7" name="Text Placeholder 9">
            <a:extLst>
              <a:ext uri="{FF2B5EF4-FFF2-40B4-BE49-F238E27FC236}">
                <a16:creationId xmlns:a16="http://schemas.microsoft.com/office/drawing/2014/main" id="{7A71F9A6-961B-4047-9742-B59B9337D93B}"/>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17978989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Content Whit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FAD040D-EC81-4EC3-A7E6-0087AD01664A}"/>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9" name="TextBox 8">
            <a:extLst>
              <a:ext uri="{FF2B5EF4-FFF2-40B4-BE49-F238E27FC236}">
                <a16:creationId xmlns:a16="http://schemas.microsoft.com/office/drawing/2014/main" id="{5E5D48C8-2827-45EB-B799-2B3A1101346A}"/>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AA9D364F-6233-41C6-8712-D9A0BE2AA920}"/>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tx1"/>
                </a:solidFill>
              </a:defRPr>
            </a:lvl1pPr>
          </a:lstStyle>
          <a:p>
            <a:r>
              <a:rPr lang="en-US"/>
              <a:t>Click to edit Master title style</a:t>
            </a:r>
            <a:endParaRPr lang="en-GB" dirty="0"/>
          </a:p>
        </p:txBody>
      </p:sp>
      <p:sp>
        <p:nvSpPr>
          <p:cNvPr id="13" name="Text Placeholder 7">
            <a:extLst>
              <a:ext uri="{FF2B5EF4-FFF2-40B4-BE49-F238E27FC236}">
                <a16:creationId xmlns:a16="http://schemas.microsoft.com/office/drawing/2014/main" id="{36D93810-B0D3-46A3-B739-FEA6E7EBD401}"/>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7" name="Text Placeholder 2">
            <a:extLst>
              <a:ext uri="{FF2B5EF4-FFF2-40B4-BE49-F238E27FC236}">
                <a16:creationId xmlns:a16="http://schemas.microsoft.com/office/drawing/2014/main" id="{03A16CAE-1742-48F2-80DC-4B8C5EABF2C0}"/>
              </a:ext>
            </a:extLst>
          </p:cNvPr>
          <p:cNvSpPr>
            <a:spLocks noGrp="1"/>
          </p:cNvSpPr>
          <p:nvPr>
            <p:ph idx="11"/>
          </p:nvPr>
        </p:nvSpPr>
        <p:spPr>
          <a:xfrm>
            <a:off x="542648" y="1629968"/>
            <a:ext cx="5065776"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2">
            <a:extLst>
              <a:ext uri="{FF2B5EF4-FFF2-40B4-BE49-F238E27FC236}">
                <a16:creationId xmlns:a16="http://schemas.microsoft.com/office/drawing/2014/main" id="{6E4F60C4-48B6-475F-BFD4-A3405129D3F5}"/>
              </a:ext>
            </a:extLst>
          </p:cNvPr>
          <p:cNvSpPr>
            <a:spLocks noGrp="1"/>
          </p:cNvSpPr>
          <p:nvPr>
            <p:ph idx="12"/>
          </p:nvPr>
        </p:nvSpPr>
        <p:spPr>
          <a:xfrm>
            <a:off x="6575870" y="1629968"/>
            <a:ext cx="5065776"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3">
            <a:extLst>
              <a:ext uri="{FF2B5EF4-FFF2-40B4-BE49-F238E27FC236}">
                <a16:creationId xmlns:a16="http://schemas.microsoft.com/office/drawing/2014/main" id="{8D64C123-9E7B-4109-A8AF-286768943940}"/>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83104090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Whi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5BE0632-339E-7F5E-C001-B3F474FA6326}"/>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3" name="TextBox 2">
            <a:extLst>
              <a:ext uri="{FF2B5EF4-FFF2-40B4-BE49-F238E27FC236}">
                <a16:creationId xmlns:a16="http://schemas.microsoft.com/office/drawing/2014/main" id="{708A7548-AA16-3593-93A7-1F1ABD9CBA3A}"/>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Placeholder 1">
            <a:extLst>
              <a:ext uri="{FF2B5EF4-FFF2-40B4-BE49-F238E27FC236}">
                <a16:creationId xmlns:a16="http://schemas.microsoft.com/office/drawing/2014/main" id="{5EBAC850-E144-452B-A918-94BB62332DBA}"/>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tx1"/>
                </a:solidFill>
              </a:defRPr>
            </a:lvl1pPr>
          </a:lstStyle>
          <a:p>
            <a:r>
              <a:rPr lang="en-US"/>
              <a:t>Click to edit Master title style</a:t>
            </a:r>
            <a:endParaRPr lang="en-GB" dirty="0"/>
          </a:p>
        </p:txBody>
      </p:sp>
      <p:sp>
        <p:nvSpPr>
          <p:cNvPr id="9" name="Text Placeholder 7">
            <a:extLst>
              <a:ext uri="{FF2B5EF4-FFF2-40B4-BE49-F238E27FC236}">
                <a16:creationId xmlns:a16="http://schemas.microsoft.com/office/drawing/2014/main" id="{A433161F-4F8F-42B9-84A4-AD534575A867}"/>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5" name="Footer Placeholder 3">
            <a:extLst>
              <a:ext uri="{FF2B5EF4-FFF2-40B4-BE49-F238E27FC236}">
                <a16:creationId xmlns:a16="http://schemas.microsoft.com/office/drawing/2014/main" id="{069CFF2A-4855-4203-82D4-95D069AA663B}"/>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620599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723E1AD-947B-44D9-857A-06E7E9097BC1}"/>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5" name="TextBox 4">
            <a:extLst>
              <a:ext uri="{FF2B5EF4-FFF2-40B4-BE49-F238E27FC236}">
                <a16:creationId xmlns:a16="http://schemas.microsoft.com/office/drawing/2014/main" id="{FC728CCB-E3FE-4CB6-9A67-6E08B07E1044}"/>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6" name="Footer Placeholder 3">
            <a:extLst>
              <a:ext uri="{FF2B5EF4-FFF2-40B4-BE49-F238E27FC236}">
                <a16:creationId xmlns:a16="http://schemas.microsoft.com/office/drawing/2014/main" id="{ED503806-1F66-40C8-9BAA-65AB80B2397D}"/>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834720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Header">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53E47E5-0E7A-47D3-AC9D-FFF1F9055268}"/>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5" b="75"/>
          <a:stretch/>
        </p:blipFill>
        <p:spPr>
          <a:xfrm>
            <a:off x="0" y="-1"/>
            <a:ext cx="12192000" cy="6858000"/>
          </a:xfrm>
          <a:prstGeom prst="rect">
            <a:avLst/>
          </a:prstGeom>
        </p:spPr>
      </p:pic>
      <p:sp>
        <p:nvSpPr>
          <p:cNvPr id="13" name="Rectangle 12">
            <a:extLst>
              <a:ext uri="{FF2B5EF4-FFF2-40B4-BE49-F238E27FC236}">
                <a16:creationId xmlns:a16="http://schemas.microsoft.com/office/drawing/2014/main" id="{15830C04-824F-4446-BF96-66F3759BFDC2}"/>
              </a:ext>
              <a:ext uri="{C183D7F6-B498-43B3-948B-1728B52AA6E4}">
                <adec:decorative xmlns:adec="http://schemas.microsoft.com/office/drawing/2017/decorative" val="1"/>
              </a:ext>
            </a:extLst>
          </p:cNvPr>
          <p:cNvSpPr/>
          <p:nvPr userDrawn="1"/>
        </p:nvSpPr>
        <p:spPr>
          <a:xfrm>
            <a:off x="0" y="1374775"/>
            <a:ext cx="12192000" cy="54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CEFFE20-85A7-4131-8350-5F3D2FA877CC}"/>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5" name="TextBox 14">
            <a:extLst>
              <a:ext uri="{FF2B5EF4-FFF2-40B4-BE49-F238E27FC236}">
                <a16:creationId xmlns:a16="http://schemas.microsoft.com/office/drawing/2014/main" id="{C7322154-4559-4860-AD81-A183BF19A2F2}"/>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DACC7256-B7E9-4862-8DD8-559B79F4E829}"/>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bg1"/>
                </a:solidFill>
              </a:defRPr>
            </a:lvl1pPr>
          </a:lstStyle>
          <a:p>
            <a:r>
              <a:rPr lang="en-US"/>
              <a:t>Click to edit Master title style</a:t>
            </a:r>
            <a:endParaRPr lang="en-GB" dirty="0"/>
          </a:p>
        </p:txBody>
      </p:sp>
      <p:sp>
        <p:nvSpPr>
          <p:cNvPr id="10" name="Text Placeholder 7">
            <a:extLst>
              <a:ext uri="{FF2B5EF4-FFF2-40B4-BE49-F238E27FC236}">
                <a16:creationId xmlns:a16="http://schemas.microsoft.com/office/drawing/2014/main" id="{A0CEA65A-B7A1-4C50-8002-0B775AFACAC5}"/>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Footer Placeholder 3">
            <a:extLst>
              <a:ext uri="{FF2B5EF4-FFF2-40B4-BE49-F238E27FC236}">
                <a16:creationId xmlns:a16="http://schemas.microsoft.com/office/drawing/2014/main" id="{A55E5C65-3002-4E1C-8C73-EF17DB73BE2A}"/>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36332554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Header">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ECE8E6C-72F7-4817-8AED-69C1E2869C7D}"/>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5" b="75"/>
          <a:stretch/>
        </p:blipFill>
        <p:spPr>
          <a:xfrm>
            <a:off x="0" y="-1"/>
            <a:ext cx="12192000" cy="6858000"/>
          </a:xfrm>
          <a:prstGeom prst="rect">
            <a:avLst/>
          </a:prstGeom>
        </p:spPr>
      </p:pic>
      <p:sp>
        <p:nvSpPr>
          <p:cNvPr id="2" name="Rectangle 1">
            <a:extLst>
              <a:ext uri="{FF2B5EF4-FFF2-40B4-BE49-F238E27FC236}">
                <a16:creationId xmlns:a16="http://schemas.microsoft.com/office/drawing/2014/main" id="{ADB2BCC8-D8C7-4311-8E24-9D7D2AB45E3A}"/>
              </a:ext>
              <a:ext uri="{C183D7F6-B498-43B3-948B-1728B52AA6E4}">
                <adec:decorative xmlns:adec="http://schemas.microsoft.com/office/drawing/2017/decorative" val="1"/>
              </a:ext>
            </a:extLst>
          </p:cNvPr>
          <p:cNvSpPr/>
          <p:nvPr userDrawn="1"/>
        </p:nvSpPr>
        <p:spPr>
          <a:xfrm>
            <a:off x="0" y="1374775"/>
            <a:ext cx="12192000" cy="54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532502F7-ACED-40D2-BE3A-765318E5072D}"/>
              </a:ext>
              <a:ext uri="{C183D7F6-B498-43B3-948B-1728B52AA6E4}">
                <adec:decorative xmlns:adec="http://schemas.microsoft.com/office/drawing/2017/decorative" val="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2" name="TextBox 11">
            <a:extLst>
              <a:ext uri="{FF2B5EF4-FFF2-40B4-BE49-F238E27FC236}">
                <a16:creationId xmlns:a16="http://schemas.microsoft.com/office/drawing/2014/main" id="{1E513B6A-6C28-46E0-93D0-6A847CF6B47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DACC7256-B7E9-4862-8DD8-559B79F4E829}"/>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bg1"/>
                </a:solidFill>
              </a:defRPr>
            </a:lvl1pPr>
          </a:lstStyle>
          <a:p>
            <a:r>
              <a:rPr lang="en-US"/>
              <a:t>Click to edit Master title style</a:t>
            </a:r>
            <a:endParaRPr lang="en-GB" dirty="0"/>
          </a:p>
        </p:txBody>
      </p:sp>
      <p:sp>
        <p:nvSpPr>
          <p:cNvPr id="10" name="Text Placeholder 7">
            <a:extLst>
              <a:ext uri="{FF2B5EF4-FFF2-40B4-BE49-F238E27FC236}">
                <a16:creationId xmlns:a16="http://schemas.microsoft.com/office/drawing/2014/main" id="{A0CEA65A-B7A1-4C50-8002-0B775AFACAC5}"/>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13" name="Footer Placeholder 3">
            <a:extLst>
              <a:ext uri="{FF2B5EF4-FFF2-40B4-BE49-F238E27FC236}">
                <a16:creationId xmlns:a16="http://schemas.microsoft.com/office/drawing/2014/main" id="{EC34A69B-83A1-449E-8F73-81B50E886EAD}"/>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04740943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tent &amp; Small Image">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536A26BA-6333-454B-9129-A69F99259A6E}"/>
              </a:ext>
              <a:ext uri="{C183D7F6-B498-43B3-948B-1728B52AA6E4}">
                <adec:decorative xmlns:adec="http://schemas.microsoft.com/office/drawing/2017/decorative" val="1"/>
              </a:ext>
            </a:extLst>
          </p:cNvPr>
          <p:cNvSpPr>
            <a:spLocks noGrp="1"/>
          </p:cNvSpPr>
          <p:nvPr>
            <p:ph type="pic" sz="quarter" idx="17"/>
          </p:nvPr>
        </p:nvSpPr>
        <p:spPr>
          <a:xfrm>
            <a:off x="0" y="0"/>
            <a:ext cx="4541003" cy="6858000"/>
          </a:xfrm>
          <a:solidFill>
            <a:schemeClr val="tx1"/>
          </a:solidFill>
          <a:ln>
            <a:noFill/>
          </a:ln>
        </p:spPr>
        <p:txBody>
          <a:bodyPr anchor="ctr"/>
          <a:lstStyle>
            <a:lvl1pPr algn="ctr">
              <a:defRPr b="0" i="0">
                <a:solidFill>
                  <a:schemeClr val="bg1"/>
                </a:solidFill>
              </a:defRPr>
            </a:lvl1pPr>
          </a:lstStyle>
          <a:p>
            <a:r>
              <a:rPr lang="en-US"/>
              <a:t>Click icon to add picture</a:t>
            </a:r>
            <a:endParaRPr lang="en-US" dirty="0"/>
          </a:p>
        </p:txBody>
      </p:sp>
      <p:sp>
        <p:nvSpPr>
          <p:cNvPr id="10" name="TextBox 9">
            <a:extLst>
              <a:ext uri="{FF2B5EF4-FFF2-40B4-BE49-F238E27FC236}">
                <a16:creationId xmlns:a16="http://schemas.microsoft.com/office/drawing/2014/main" id="{3514079A-CFC9-CA40-A5FA-744495EF2D30}"/>
              </a:ext>
              <a:ext uri="{C183D7F6-B498-43B3-948B-1728B52AA6E4}">
                <adec:decorative xmlns:adec="http://schemas.microsoft.com/office/drawing/2017/decorative" val="1"/>
              </a:ext>
            </a:extLst>
          </p:cNvPr>
          <p:cNvSpPr txBox="1"/>
          <p:nvPr/>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1" name="TextBox 10">
            <a:extLst>
              <a:ext uri="{FF2B5EF4-FFF2-40B4-BE49-F238E27FC236}">
                <a16:creationId xmlns:a16="http://schemas.microsoft.com/office/drawing/2014/main" id="{3272E8A5-F9DB-784E-A892-32E597B71BEA}"/>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15144576-850E-414C-8E25-EB0EBE7F76E5}"/>
              </a:ext>
            </a:extLst>
          </p:cNvPr>
          <p:cNvSpPr>
            <a:spLocks noGrp="1"/>
          </p:cNvSpPr>
          <p:nvPr>
            <p:ph type="title" hasCustomPrompt="1"/>
          </p:nvPr>
        </p:nvSpPr>
        <p:spPr>
          <a:xfrm>
            <a:off x="5021629" y="381387"/>
            <a:ext cx="6619330" cy="664797"/>
          </a:xfrm>
        </p:spPr>
        <p:txBody>
          <a:bodyPr>
            <a:spAutoFit/>
          </a:bodyPr>
          <a:lstStyle>
            <a:lvl1pPr>
              <a:lnSpc>
                <a:spcPct val="90000"/>
              </a:lnSpc>
              <a:defRPr/>
            </a:lvl1pPr>
          </a:lstStyle>
          <a:p>
            <a:r>
              <a:rPr lang="en-US" dirty="0"/>
              <a:t>Click to edit Master title style</a:t>
            </a:r>
            <a:br>
              <a:rPr lang="en-US" dirty="0"/>
            </a:br>
            <a:r>
              <a:rPr lang="en-US" dirty="0"/>
              <a:t>can be two lines</a:t>
            </a:r>
            <a:endParaRPr lang="en-GB" dirty="0"/>
          </a:p>
        </p:txBody>
      </p:sp>
      <p:sp>
        <p:nvSpPr>
          <p:cNvPr id="9" name="Text Placeholder 7">
            <a:extLst>
              <a:ext uri="{FF2B5EF4-FFF2-40B4-BE49-F238E27FC236}">
                <a16:creationId xmlns:a16="http://schemas.microsoft.com/office/drawing/2014/main" id="{16173A2D-3D12-7546-ABC9-798CE57B7ED9}"/>
              </a:ext>
            </a:extLst>
          </p:cNvPr>
          <p:cNvSpPr>
            <a:spLocks noGrp="1"/>
          </p:cNvSpPr>
          <p:nvPr>
            <p:ph type="body" sz="quarter" idx="10" hasCustomPrompt="1"/>
          </p:nvPr>
        </p:nvSpPr>
        <p:spPr>
          <a:xfrm>
            <a:off x="5021629" y="1157250"/>
            <a:ext cx="6619330" cy="276999"/>
          </a:xfrm>
        </p:spPr>
        <p:txBody>
          <a:bodyPr>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13" name="Content Placeholder 2">
            <a:extLst>
              <a:ext uri="{FF2B5EF4-FFF2-40B4-BE49-F238E27FC236}">
                <a16:creationId xmlns:a16="http://schemas.microsoft.com/office/drawing/2014/main" id="{565FB3A7-DFC6-4198-A420-238EEE862C3E}"/>
              </a:ext>
            </a:extLst>
          </p:cNvPr>
          <p:cNvSpPr>
            <a:spLocks noGrp="1"/>
          </p:cNvSpPr>
          <p:nvPr>
            <p:ph idx="16"/>
          </p:nvPr>
        </p:nvSpPr>
        <p:spPr>
          <a:xfrm>
            <a:off x="5021629" y="1641777"/>
            <a:ext cx="6619687" cy="4608513"/>
          </a:xfrm>
        </p:spPr>
        <p:txBody>
          <a:bodyPr>
            <a:noAutofit/>
          </a:bodyPr>
          <a:lstStyle>
            <a:lvl1pPr>
              <a:defRPr sz="1400" b="0" i="0"/>
            </a:lvl1pPr>
            <a:lvl2pPr>
              <a:defRPr sz="1400" b="0" i="0"/>
            </a:lvl2pPr>
            <a:lvl3pPr>
              <a:buClr>
                <a:schemeClr val="accent1"/>
              </a:buClr>
              <a:defRPr sz="1400" b="0" i="0"/>
            </a:lvl3pPr>
            <a:lvl4pPr>
              <a:buClr>
                <a:schemeClr val="accent1"/>
              </a:buClr>
              <a:defRPr sz="1200" b="0" i="0"/>
            </a:lvl4pPr>
            <a:lvl5pPr>
              <a:buClr>
                <a:schemeClr val="accent1"/>
              </a:buClr>
              <a:defRPr sz="12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Footer Placeholder 3">
            <a:extLst>
              <a:ext uri="{FF2B5EF4-FFF2-40B4-BE49-F238E27FC236}">
                <a16:creationId xmlns:a16="http://schemas.microsoft.com/office/drawing/2014/main" id="{2A2B500A-B20C-40BB-A8DA-6568BD2100D9}"/>
              </a:ext>
            </a:extLst>
          </p:cNvPr>
          <p:cNvSpPr>
            <a:spLocks noGrp="1"/>
          </p:cNvSpPr>
          <p:nvPr>
            <p:ph type="ftr" sz="quarter" idx="3"/>
          </p:nvPr>
        </p:nvSpPr>
        <p:spPr>
          <a:xfrm>
            <a:off x="5021629" y="6463172"/>
            <a:ext cx="6351220" cy="297962"/>
          </a:xfrm>
          <a:prstGeom prst="rect">
            <a:avLst/>
          </a:prstGeom>
          <a:noFill/>
        </p:spPr>
        <p:txBody>
          <a:bodyPr vert="horz" wrap="square"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4076299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 &amp; Large Image">
    <p:spTree>
      <p:nvGrpSpPr>
        <p:cNvPr id="1" name=""/>
        <p:cNvGrpSpPr/>
        <p:nvPr/>
      </p:nvGrpSpPr>
      <p:grpSpPr>
        <a:xfrm>
          <a:off x="0" y="0"/>
          <a:ext cx="0" cy="0"/>
          <a:chOff x="0" y="0"/>
          <a:chExt cx="0" cy="0"/>
        </a:xfrm>
      </p:grpSpPr>
      <p:sp>
        <p:nvSpPr>
          <p:cNvPr id="17" name="Picture Placeholder 12">
            <a:extLst>
              <a:ext uri="{FF2B5EF4-FFF2-40B4-BE49-F238E27FC236}">
                <a16:creationId xmlns:a16="http://schemas.microsoft.com/office/drawing/2014/main" id="{F2852101-96E6-48D2-9B72-9BAD8CA88EA3}"/>
              </a:ext>
              <a:ext uri="{C183D7F6-B498-43B3-948B-1728B52AA6E4}">
                <adec:decorative xmlns:adec="http://schemas.microsoft.com/office/drawing/2017/decorative" val="1"/>
              </a:ext>
            </a:extLst>
          </p:cNvPr>
          <p:cNvSpPr>
            <a:spLocks noGrp="1"/>
          </p:cNvSpPr>
          <p:nvPr>
            <p:ph type="pic" sz="quarter" idx="14"/>
          </p:nvPr>
        </p:nvSpPr>
        <p:spPr>
          <a:xfrm>
            <a:off x="0" y="0"/>
            <a:ext cx="6614784" cy="6858000"/>
          </a:xfrm>
          <a:solidFill>
            <a:schemeClr val="tx1"/>
          </a:solidFill>
        </p:spPr>
        <p:txBody>
          <a:bodyPr anchor="ctr"/>
          <a:lstStyle>
            <a:lvl1pPr algn="ctr">
              <a:defRPr b="0" i="0">
                <a:solidFill>
                  <a:schemeClr val="bg1"/>
                </a:solidFill>
              </a:defRPr>
            </a:lvl1pPr>
          </a:lstStyle>
          <a:p>
            <a:r>
              <a:rPr lang="en-US"/>
              <a:t>Click icon to add picture</a:t>
            </a:r>
            <a:endParaRPr lang="en-GB" dirty="0"/>
          </a:p>
        </p:txBody>
      </p:sp>
      <p:sp>
        <p:nvSpPr>
          <p:cNvPr id="10" name="TextBox 9">
            <a:extLst>
              <a:ext uri="{FF2B5EF4-FFF2-40B4-BE49-F238E27FC236}">
                <a16:creationId xmlns:a16="http://schemas.microsoft.com/office/drawing/2014/main" id="{3514079A-CFC9-CA40-A5FA-744495EF2D30}"/>
              </a:ext>
              <a:ext uri="{C183D7F6-B498-43B3-948B-1728B52AA6E4}">
                <adec:decorative xmlns:adec="http://schemas.microsoft.com/office/drawing/2017/decorative" val="1"/>
              </a:ext>
            </a:extLst>
          </p:cNvPr>
          <p:cNvSpPr txBox="1"/>
          <p:nvPr/>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9" name="TextBox 8">
            <a:extLst>
              <a:ext uri="{FF2B5EF4-FFF2-40B4-BE49-F238E27FC236}">
                <a16:creationId xmlns:a16="http://schemas.microsoft.com/office/drawing/2014/main" id="{CE78A84B-6B7F-3F4B-A48C-24529EB0BEC2}"/>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6" name="Title 1">
            <a:extLst>
              <a:ext uri="{FF2B5EF4-FFF2-40B4-BE49-F238E27FC236}">
                <a16:creationId xmlns:a16="http://schemas.microsoft.com/office/drawing/2014/main" id="{43599993-ECCA-48C1-8E41-BB20F5CF0EC9}"/>
              </a:ext>
            </a:extLst>
          </p:cNvPr>
          <p:cNvSpPr>
            <a:spLocks noGrp="1"/>
          </p:cNvSpPr>
          <p:nvPr>
            <p:ph type="title" hasCustomPrompt="1"/>
          </p:nvPr>
        </p:nvSpPr>
        <p:spPr>
          <a:xfrm>
            <a:off x="6953249" y="365125"/>
            <a:ext cx="4691996" cy="664797"/>
          </a:xfrm>
        </p:spPr>
        <p:txBody>
          <a:bodyPr anchor="t" anchorCtr="0">
            <a:spAutoFit/>
          </a:bodyPr>
          <a:lstStyle>
            <a:lvl1pPr>
              <a:lnSpc>
                <a:spcPct val="90000"/>
              </a:lnSpc>
              <a:defRPr/>
            </a:lvl1pPr>
          </a:lstStyle>
          <a:p>
            <a:r>
              <a:rPr lang="en-US" dirty="0"/>
              <a:t>Click to edit Master title style can be two lines</a:t>
            </a:r>
            <a:endParaRPr lang="en-GB" dirty="0"/>
          </a:p>
        </p:txBody>
      </p:sp>
      <p:sp>
        <p:nvSpPr>
          <p:cNvPr id="18" name="Text Placeholder 7">
            <a:extLst>
              <a:ext uri="{FF2B5EF4-FFF2-40B4-BE49-F238E27FC236}">
                <a16:creationId xmlns:a16="http://schemas.microsoft.com/office/drawing/2014/main" id="{9FA1314A-625E-4943-B43C-FDC9D623B4A8}"/>
              </a:ext>
            </a:extLst>
          </p:cNvPr>
          <p:cNvSpPr>
            <a:spLocks noGrp="1"/>
          </p:cNvSpPr>
          <p:nvPr>
            <p:ph type="body" sz="quarter" idx="10" hasCustomPrompt="1"/>
          </p:nvPr>
        </p:nvSpPr>
        <p:spPr>
          <a:xfrm>
            <a:off x="6949142" y="1144329"/>
            <a:ext cx="4691995" cy="276999"/>
          </a:xfrm>
        </p:spPr>
        <p:txBody>
          <a:bodyPr anchor="t" anchorCtr="0">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13" name="Content Placeholder 2">
            <a:extLst>
              <a:ext uri="{FF2B5EF4-FFF2-40B4-BE49-F238E27FC236}">
                <a16:creationId xmlns:a16="http://schemas.microsoft.com/office/drawing/2014/main" id="{565FB3A7-DFC6-4198-A420-238EEE862C3E}"/>
              </a:ext>
            </a:extLst>
          </p:cNvPr>
          <p:cNvSpPr>
            <a:spLocks noGrp="1"/>
          </p:cNvSpPr>
          <p:nvPr>
            <p:ph idx="16"/>
          </p:nvPr>
        </p:nvSpPr>
        <p:spPr>
          <a:xfrm>
            <a:off x="6949142" y="1641777"/>
            <a:ext cx="4692174" cy="4608513"/>
          </a:xfrm>
        </p:spPr>
        <p:txBody>
          <a:bodyPr>
            <a:noAutofit/>
          </a:bodyPr>
          <a:lstStyle>
            <a:lvl1pPr>
              <a:defRPr sz="1400" b="0" i="0"/>
            </a:lvl1pPr>
            <a:lvl2pPr>
              <a:defRPr sz="1400" b="0" i="0"/>
            </a:lvl2pPr>
            <a:lvl3pPr>
              <a:buClr>
                <a:schemeClr val="accent1"/>
              </a:buClr>
              <a:defRPr sz="1400" b="0" i="0"/>
            </a:lvl3pPr>
            <a:lvl4pPr>
              <a:buClr>
                <a:schemeClr val="accent1"/>
              </a:buClr>
              <a:defRPr sz="1200" b="0" i="0"/>
            </a:lvl4pPr>
            <a:lvl5pPr>
              <a:buClr>
                <a:schemeClr val="accent1"/>
              </a:buClr>
              <a:defRPr sz="12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3">
            <a:extLst>
              <a:ext uri="{FF2B5EF4-FFF2-40B4-BE49-F238E27FC236}">
                <a16:creationId xmlns:a16="http://schemas.microsoft.com/office/drawing/2014/main" id="{10B16828-6630-4ECE-AE69-4BF1C38A3090}"/>
              </a:ext>
            </a:extLst>
          </p:cNvPr>
          <p:cNvSpPr>
            <a:spLocks noGrp="1"/>
          </p:cNvSpPr>
          <p:nvPr>
            <p:ph type="ftr" sz="quarter" idx="3"/>
          </p:nvPr>
        </p:nvSpPr>
        <p:spPr>
          <a:xfrm>
            <a:off x="6953249" y="6463172"/>
            <a:ext cx="4419600" cy="297962"/>
          </a:xfrm>
          <a:prstGeom prst="rect">
            <a:avLst/>
          </a:prstGeom>
          <a:noFill/>
        </p:spPr>
        <p:txBody>
          <a:bodyPr vert="horz" wrap="square"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69266727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Layout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7639EE-8135-4BFC-9D3A-6AEB76BC34EF}"/>
              </a:ext>
              <a:ext uri="{C183D7F6-B498-43B3-948B-1728B52AA6E4}">
                <adec:decorative xmlns:adec="http://schemas.microsoft.com/office/drawing/2017/decorative" val="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12" name="TextBox 11">
            <a:extLst>
              <a:ext uri="{FF2B5EF4-FFF2-40B4-BE49-F238E27FC236}">
                <a16:creationId xmlns:a16="http://schemas.microsoft.com/office/drawing/2014/main" id="{A7127A8D-70B8-4E4C-9D5B-909E15D8C211}"/>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3" name="TextBox 12">
            <a:extLst>
              <a:ext uri="{FF2B5EF4-FFF2-40B4-BE49-F238E27FC236}">
                <a16:creationId xmlns:a16="http://schemas.microsoft.com/office/drawing/2014/main" id="{C2BD9DA9-DCBB-48EF-9512-AFC0D25F250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F99AAA5E-5BA8-4FC1-B51B-ACBC0A983C09}"/>
              </a:ext>
            </a:extLst>
          </p:cNvPr>
          <p:cNvSpPr>
            <a:spLocks noGrp="1"/>
          </p:cNvSpPr>
          <p:nvPr>
            <p:ph type="title"/>
          </p:nvPr>
        </p:nvSpPr>
        <p:spPr>
          <a:xfrm>
            <a:off x="542647" y="365126"/>
            <a:ext cx="11098999" cy="332399"/>
          </a:xfrm>
          <a:prstGeom prst="rect">
            <a:avLst/>
          </a:prstGeom>
        </p:spPr>
        <p:txBody>
          <a:bodyPr vert="horz" lIns="0" tIns="0" rIns="0" bIns="0" rtlCol="0" anchor="t" anchorCtr="0">
            <a:spAutoFit/>
          </a:bodyPr>
          <a:lstStyle>
            <a:lvl1pPr>
              <a:lnSpc>
                <a:spcPct val="90000"/>
              </a:lnSpc>
              <a:defRPr cap="none" baseline="0">
                <a:solidFill>
                  <a:schemeClr val="tx1"/>
                </a:solidFill>
              </a:defRPr>
            </a:lvl1pPr>
          </a:lstStyle>
          <a:p>
            <a:r>
              <a:rPr lang="en-US"/>
              <a:t>Click to edit Master title style</a:t>
            </a:r>
            <a:endParaRPr lang="en-GB" dirty="0"/>
          </a:p>
        </p:txBody>
      </p:sp>
      <p:sp>
        <p:nvSpPr>
          <p:cNvPr id="11" name="Text Placeholder 7">
            <a:extLst>
              <a:ext uri="{FF2B5EF4-FFF2-40B4-BE49-F238E27FC236}">
                <a16:creationId xmlns:a16="http://schemas.microsoft.com/office/drawing/2014/main" id="{37934683-6931-4841-BFED-E8B53DEDE6F0}"/>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3">
            <a:extLst>
              <a:ext uri="{FF2B5EF4-FFF2-40B4-BE49-F238E27FC236}">
                <a16:creationId xmlns:a16="http://schemas.microsoft.com/office/drawing/2014/main" id="{501985A6-9C02-414C-810B-274BC247BCAF}"/>
              </a:ext>
              <a:ext uri="{C183D7F6-B498-43B3-948B-1728B52AA6E4}">
                <adec:decorative xmlns:adec="http://schemas.microsoft.com/office/drawing/2017/decorative" val="0"/>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53506659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Content Black">
    <p:bg>
      <p:bgPr>
        <a:solidFill>
          <a:schemeClr val="tx1"/>
        </a:solidFill>
        <a:effectLst/>
      </p:bgPr>
    </p:bg>
    <p:spTree>
      <p:nvGrpSpPr>
        <p:cNvPr id="1" name=""/>
        <p:cNvGrpSpPr/>
        <p:nvPr/>
      </p:nvGrpSpPr>
      <p:grpSpPr>
        <a:xfrm>
          <a:off x="0" y="0"/>
          <a:ext cx="0" cy="0"/>
          <a:chOff x="0" y="0"/>
          <a:chExt cx="0" cy="0"/>
        </a:xfrm>
      </p:grpSpPr>
      <p:sp>
        <p:nvSpPr>
          <p:cNvPr id="15" name="Picture Placeholder 16">
            <a:extLst>
              <a:ext uri="{FF2B5EF4-FFF2-40B4-BE49-F238E27FC236}">
                <a16:creationId xmlns:a16="http://schemas.microsoft.com/office/drawing/2014/main" id="{76CE307B-7B41-40F2-9134-2FDAD5AB9EED}"/>
              </a:ext>
              <a:ext uri="{C183D7F6-B498-43B3-948B-1728B52AA6E4}">
                <adec:decorative xmlns:adec="http://schemas.microsoft.com/office/drawing/2017/decorative" val="1"/>
              </a:ext>
            </a:extLst>
          </p:cNvPr>
          <p:cNvSpPr>
            <a:spLocks noGrp="1"/>
          </p:cNvSpPr>
          <p:nvPr>
            <p:ph type="pic" sz="quarter" idx="14" hasCustomPrompt="1"/>
          </p:nvPr>
        </p:nvSpPr>
        <p:spPr>
          <a:xfrm rot="5400000">
            <a:off x="2926672" y="3414014"/>
            <a:ext cx="4480560" cy="27432"/>
          </a:xfrm>
          <a:solidFill>
            <a:schemeClr val="accent3"/>
          </a:solidFill>
          <a:ln>
            <a:noFill/>
          </a:ln>
        </p:spPr>
        <p:txBody>
          <a:bodyPr/>
          <a:lstStyle>
            <a:lvl1pPr>
              <a:defRPr b="0" i="0"/>
            </a:lvl1pPr>
          </a:lstStyle>
          <a:p>
            <a:r>
              <a:rPr lang="en-US" dirty="0"/>
              <a:t> </a:t>
            </a:r>
          </a:p>
        </p:txBody>
      </p:sp>
      <p:sp>
        <p:nvSpPr>
          <p:cNvPr id="16" name="Title Placeholder 1">
            <a:extLst>
              <a:ext uri="{FF2B5EF4-FFF2-40B4-BE49-F238E27FC236}">
                <a16:creationId xmlns:a16="http://schemas.microsoft.com/office/drawing/2014/main" id="{356C258B-25D3-4ED4-A295-CDBBDD1287FA}"/>
              </a:ext>
            </a:extLst>
          </p:cNvPr>
          <p:cNvSpPr>
            <a:spLocks noGrp="1"/>
          </p:cNvSpPr>
          <p:nvPr>
            <p:ph type="title" hasCustomPrompt="1"/>
          </p:nvPr>
        </p:nvSpPr>
        <p:spPr>
          <a:xfrm>
            <a:off x="546755" y="1187450"/>
            <a:ext cx="4087158" cy="664797"/>
          </a:xfrm>
          <a:prstGeom prst="rect">
            <a:avLst/>
          </a:prstGeom>
        </p:spPr>
        <p:txBody>
          <a:bodyPr vert="horz" lIns="0" tIns="0" rIns="0" bIns="0" rtlCol="0" anchor="t" anchorCtr="0">
            <a:spAutoFit/>
          </a:bodyPr>
          <a:lstStyle>
            <a:lvl1pPr algn="r">
              <a:lnSpc>
                <a:spcPct val="90000"/>
              </a:lnSpc>
              <a:defRPr cap="none" baseline="0">
                <a:solidFill>
                  <a:schemeClr val="bg1"/>
                </a:solidFill>
              </a:defRPr>
            </a:lvl1pPr>
          </a:lstStyle>
          <a:p>
            <a:r>
              <a:rPr lang="en-US" dirty="0"/>
              <a:t>Click to edit Master title style can be two lines</a:t>
            </a:r>
            <a:endParaRPr lang="en-GB" dirty="0"/>
          </a:p>
        </p:txBody>
      </p:sp>
      <p:sp>
        <p:nvSpPr>
          <p:cNvPr id="17" name="Text Placeholder 7">
            <a:extLst>
              <a:ext uri="{FF2B5EF4-FFF2-40B4-BE49-F238E27FC236}">
                <a16:creationId xmlns:a16="http://schemas.microsoft.com/office/drawing/2014/main" id="{DC61FCC4-7FF4-4D39-9D8F-EF7944B82E62}"/>
              </a:ext>
            </a:extLst>
          </p:cNvPr>
          <p:cNvSpPr>
            <a:spLocks noGrp="1"/>
          </p:cNvSpPr>
          <p:nvPr>
            <p:ph type="body" sz="quarter" idx="15" hasCustomPrompt="1"/>
          </p:nvPr>
        </p:nvSpPr>
        <p:spPr>
          <a:xfrm>
            <a:off x="546755" y="1982999"/>
            <a:ext cx="4087158" cy="276999"/>
          </a:xfrm>
        </p:spPr>
        <p:txBody>
          <a:bodyPr wrap="square" anchor="t" anchorCtr="0">
            <a:spAutoFit/>
          </a:bodyPr>
          <a:lstStyle>
            <a:lvl1pPr algn="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9" name="Text Placeholder 8">
            <a:extLst>
              <a:ext uri="{FF2B5EF4-FFF2-40B4-BE49-F238E27FC236}">
                <a16:creationId xmlns:a16="http://schemas.microsoft.com/office/drawing/2014/main" id="{06474618-5F3F-452B-8D18-95E07FD6C432}"/>
              </a:ext>
            </a:extLst>
          </p:cNvPr>
          <p:cNvSpPr>
            <a:spLocks noGrp="1"/>
          </p:cNvSpPr>
          <p:nvPr>
            <p:ph type="body" sz="quarter" idx="11"/>
          </p:nvPr>
        </p:nvSpPr>
        <p:spPr>
          <a:xfrm>
            <a:off x="5743575" y="1187450"/>
            <a:ext cx="5898072" cy="2241550"/>
          </a:xfrm>
        </p:spPr>
        <p:txBody>
          <a:bodyPr>
            <a:normAutofit/>
          </a:bodyPr>
          <a:lstStyle>
            <a:lvl1pPr>
              <a:defRPr sz="1400" b="0" i="0">
                <a:solidFill>
                  <a:schemeClr val="bg1"/>
                </a:solidFill>
              </a:defRPr>
            </a:lvl1pPr>
            <a:lvl2pPr>
              <a:defRPr sz="1400" b="0" i="0">
                <a:solidFill>
                  <a:schemeClr val="bg1"/>
                </a:solidFill>
              </a:defRPr>
            </a:lvl2pPr>
            <a:lvl3pPr>
              <a:buClr>
                <a:schemeClr val="accent1"/>
              </a:buClr>
              <a:defRPr sz="1400" b="0" i="0">
                <a:solidFill>
                  <a:schemeClr val="bg1"/>
                </a:solidFill>
              </a:defRPr>
            </a:lvl3pPr>
            <a:lvl4pPr>
              <a:buClr>
                <a:schemeClr val="accent1"/>
              </a:buClr>
              <a:defRPr sz="1200" b="0" i="0">
                <a:solidFill>
                  <a:schemeClr val="bg1"/>
                </a:solidFill>
              </a:defRPr>
            </a:lvl4pPr>
            <a:lvl5pPr>
              <a:buClr>
                <a:schemeClr val="accent1"/>
              </a:buClr>
              <a:defRPr sz="1200" b="0" i="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8">
            <a:extLst>
              <a:ext uri="{FF2B5EF4-FFF2-40B4-BE49-F238E27FC236}">
                <a16:creationId xmlns:a16="http://schemas.microsoft.com/office/drawing/2014/main" id="{D0633ECB-BC07-45B8-A9BD-06F698C4F3A7}"/>
              </a:ext>
            </a:extLst>
          </p:cNvPr>
          <p:cNvSpPr>
            <a:spLocks noGrp="1"/>
          </p:cNvSpPr>
          <p:nvPr>
            <p:ph type="body" sz="quarter" idx="13"/>
          </p:nvPr>
        </p:nvSpPr>
        <p:spPr>
          <a:xfrm>
            <a:off x="5743575" y="3713673"/>
            <a:ext cx="5898072" cy="2241550"/>
          </a:xfrm>
        </p:spPr>
        <p:txBody>
          <a:bodyPr>
            <a:normAutofit/>
          </a:bodyPr>
          <a:lstStyle>
            <a:lvl1pPr>
              <a:defRPr sz="1400" b="0" i="0">
                <a:solidFill>
                  <a:schemeClr val="bg1"/>
                </a:solidFill>
              </a:defRPr>
            </a:lvl1pPr>
            <a:lvl2pPr>
              <a:defRPr sz="1400" b="0" i="0">
                <a:solidFill>
                  <a:schemeClr val="bg1"/>
                </a:solidFill>
              </a:defRPr>
            </a:lvl2pPr>
            <a:lvl3pPr>
              <a:buClr>
                <a:schemeClr val="accent1"/>
              </a:buClr>
              <a:defRPr sz="1400" b="0" i="0">
                <a:solidFill>
                  <a:schemeClr val="bg1"/>
                </a:solidFill>
              </a:defRPr>
            </a:lvl3pPr>
            <a:lvl4pPr>
              <a:buClr>
                <a:schemeClr val="accent1"/>
              </a:buClr>
              <a:defRPr sz="1200" b="0" i="0">
                <a:solidFill>
                  <a:schemeClr val="bg1"/>
                </a:solidFill>
              </a:defRPr>
            </a:lvl4pPr>
            <a:lvl5pPr>
              <a:buClr>
                <a:schemeClr val="accent1"/>
              </a:buClr>
              <a:defRPr sz="1200" b="0" i="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3">
            <a:extLst>
              <a:ext uri="{FF2B5EF4-FFF2-40B4-BE49-F238E27FC236}">
                <a16:creationId xmlns:a16="http://schemas.microsoft.com/office/drawing/2014/main" id="{7FBDECCD-7B76-4A64-9443-3095A74BE767}"/>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452295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Content White">
    <p:spTree>
      <p:nvGrpSpPr>
        <p:cNvPr id="1" name=""/>
        <p:cNvGrpSpPr/>
        <p:nvPr/>
      </p:nvGrpSpPr>
      <p:grpSpPr>
        <a:xfrm>
          <a:off x="0" y="0"/>
          <a:ext cx="0" cy="0"/>
          <a:chOff x="0" y="0"/>
          <a:chExt cx="0" cy="0"/>
        </a:xfrm>
      </p:grpSpPr>
      <p:sp>
        <p:nvSpPr>
          <p:cNvPr id="12" name="Picture Placeholder 16">
            <a:extLst>
              <a:ext uri="{FF2B5EF4-FFF2-40B4-BE49-F238E27FC236}">
                <a16:creationId xmlns:a16="http://schemas.microsoft.com/office/drawing/2014/main" id="{CC390D2B-B1AA-4E1A-9146-D0936DD1ADC1}"/>
              </a:ext>
            </a:extLst>
          </p:cNvPr>
          <p:cNvSpPr>
            <a:spLocks noGrp="1"/>
          </p:cNvSpPr>
          <p:nvPr>
            <p:ph type="pic" sz="quarter" idx="14" hasCustomPrompt="1"/>
          </p:nvPr>
        </p:nvSpPr>
        <p:spPr>
          <a:xfrm rot="5400000">
            <a:off x="2925604" y="3415284"/>
            <a:ext cx="4480560" cy="27432"/>
          </a:xfrm>
          <a:solidFill>
            <a:schemeClr val="bg1">
              <a:lumMod val="85000"/>
            </a:schemeClr>
          </a:solidFill>
          <a:ln>
            <a:noFill/>
          </a:ln>
        </p:spPr>
        <p:txBody>
          <a:bodyPr/>
          <a:lstStyle>
            <a:lvl1pPr>
              <a:defRPr b="0" i="0"/>
            </a:lvl1pPr>
          </a:lstStyle>
          <a:p>
            <a:r>
              <a:rPr lang="en-US" dirty="0"/>
              <a:t> </a:t>
            </a:r>
          </a:p>
        </p:txBody>
      </p:sp>
      <p:sp>
        <p:nvSpPr>
          <p:cNvPr id="13" name="Title Placeholder 1">
            <a:extLst>
              <a:ext uri="{FF2B5EF4-FFF2-40B4-BE49-F238E27FC236}">
                <a16:creationId xmlns:a16="http://schemas.microsoft.com/office/drawing/2014/main" id="{05068985-C2C0-4801-9E87-E1490F64C956}"/>
              </a:ext>
            </a:extLst>
          </p:cNvPr>
          <p:cNvSpPr>
            <a:spLocks noGrp="1"/>
          </p:cNvSpPr>
          <p:nvPr>
            <p:ph type="title" hasCustomPrompt="1"/>
          </p:nvPr>
        </p:nvSpPr>
        <p:spPr>
          <a:xfrm>
            <a:off x="546755" y="1187450"/>
            <a:ext cx="4087158" cy="642936"/>
          </a:xfrm>
          <a:prstGeom prst="rect">
            <a:avLst/>
          </a:prstGeom>
        </p:spPr>
        <p:txBody>
          <a:bodyPr vert="horz" lIns="0" tIns="0" rIns="0" bIns="0" rtlCol="0" anchor="t" anchorCtr="0">
            <a:noAutofit/>
          </a:bodyPr>
          <a:lstStyle>
            <a:lvl1pPr algn="r">
              <a:lnSpc>
                <a:spcPct val="90000"/>
              </a:lnSpc>
              <a:defRPr cap="none" baseline="0">
                <a:solidFill>
                  <a:schemeClr val="tx1"/>
                </a:solidFill>
              </a:defRPr>
            </a:lvl1pPr>
          </a:lstStyle>
          <a:p>
            <a:r>
              <a:rPr lang="en-US" dirty="0"/>
              <a:t>Click to edit Master title style can be two lines</a:t>
            </a:r>
            <a:endParaRPr lang="en-GB" dirty="0"/>
          </a:p>
        </p:txBody>
      </p:sp>
      <p:sp>
        <p:nvSpPr>
          <p:cNvPr id="18" name="Text Placeholder 7">
            <a:extLst>
              <a:ext uri="{FF2B5EF4-FFF2-40B4-BE49-F238E27FC236}">
                <a16:creationId xmlns:a16="http://schemas.microsoft.com/office/drawing/2014/main" id="{180A09E2-04B2-432D-9462-4896B04332F8}"/>
              </a:ext>
            </a:extLst>
          </p:cNvPr>
          <p:cNvSpPr>
            <a:spLocks noGrp="1"/>
          </p:cNvSpPr>
          <p:nvPr>
            <p:ph type="body" sz="quarter" idx="15" hasCustomPrompt="1"/>
          </p:nvPr>
        </p:nvSpPr>
        <p:spPr>
          <a:xfrm>
            <a:off x="546755" y="1967261"/>
            <a:ext cx="4087158" cy="276999"/>
          </a:xfrm>
        </p:spPr>
        <p:txBody>
          <a:bodyPr wrap="square" anchor="t" anchorCtr="0">
            <a:spAutoFit/>
          </a:bodyPr>
          <a:lstStyle>
            <a:lvl1pPr algn="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10" name="Text Placeholder 8">
            <a:extLst>
              <a:ext uri="{FF2B5EF4-FFF2-40B4-BE49-F238E27FC236}">
                <a16:creationId xmlns:a16="http://schemas.microsoft.com/office/drawing/2014/main" id="{850B5BAD-6C1D-4697-8ABA-6976187FDB6F}"/>
              </a:ext>
            </a:extLst>
          </p:cNvPr>
          <p:cNvSpPr>
            <a:spLocks noGrp="1"/>
          </p:cNvSpPr>
          <p:nvPr>
            <p:ph type="body" sz="quarter" idx="11"/>
          </p:nvPr>
        </p:nvSpPr>
        <p:spPr>
          <a:xfrm>
            <a:off x="5743575" y="1187450"/>
            <a:ext cx="5678488" cy="2241550"/>
          </a:xfrm>
        </p:spPr>
        <p:txBody>
          <a:bodyPr>
            <a:normAutofit/>
          </a:bodyPr>
          <a:lstStyle>
            <a:lvl1pPr>
              <a:defRPr sz="1400" b="0" i="0">
                <a:solidFill>
                  <a:schemeClr val="accent3"/>
                </a:solidFill>
              </a:defRPr>
            </a:lvl1pPr>
            <a:lvl2pPr>
              <a:defRPr sz="1400" b="0" i="0">
                <a:solidFill>
                  <a:schemeClr val="accent3"/>
                </a:solidFill>
              </a:defRPr>
            </a:lvl2pPr>
            <a:lvl3pPr>
              <a:buClr>
                <a:schemeClr val="accent1"/>
              </a:buClr>
              <a:defRPr sz="1400" b="0" i="0">
                <a:solidFill>
                  <a:schemeClr val="accent3"/>
                </a:solidFill>
              </a:defRPr>
            </a:lvl3pPr>
            <a:lvl4pPr>
              <a:buClr>
                <a:schemeClr val="accent1"/>
              </a:buClr>
              <a:defRPr sz="1200" b="0" i="0">
                <a:solidFill>
                  <a:schemeClr val="accent3"/>
                </a:solidFill>
              </a:defRPr>
            </a:lvl4pPr>
            <a:lvl5pPr>
              <a:buClr>
                <a:schemeClr val="accent1"/>
              </a:buClr>
              <a:defRPr sz="1200" b="0" i="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a:extLst>
              <a:ext uri="{FF2B5EF4-FFF2-40B4-BE49-F238E27FC236}">
                <a16:creationId xmlns:a16="http://schemas.microsoft.com/office/drawing/2014/main" id="{5119AA07-E8E3-498D-BD9D-3FC258E79060}"/>
              </a:ext>
            </a:extLst>
          </p:cNvPr>
          <p:cNvSpPr>
            <a:spLocks noGrp="1"/>
          </p:cNvSpPr>
          <p:nvPr>
            <p:ph type="body" sz="quarter" idx="13"/>
          </p:nvPr>
        </p:nvSpPr>
        <p:spPr>
          <a:xfrm>
            <a:off x="5743575" y="3713673"/>
            <a:ext cx="5678488" cy="2241550"/>
          </a:xfrm>
        </p:spPr>
        <p:txBody>
          <a:bodyPr>
            <a:normAutofit/>
          </a:bodyPr>
          <a:lstStyle>
            <a:lvl1pPr>
              <a:defRPr sz="1400" b="0" i="0">
                <a:solidFill>
                  <a:schemeClr val="accent3"/>
                </a:solidFill>
              </a:defRPr>
            </a:lvl1pPr>
            <a:lvl2pPr>
              <a:defRPr sz="1400" b="0" i="0">
                <a:solidFill>
                  <a:schemeClr val="accent3"/>
                </a:solidFill>
              </a:defRPr>
            </a:lvl2pPr>
            <a:lvl3pPr>
              <a:buClr>
                <a:schemeClr val="accent1"/>
              </a:buClr>
              <a:defRPr sz="1400" b="0" i="0">
                <a:solidFill>
                  <a:schemeClr val="accent3"/>
                </a:solidFill>
              </a:defRPr>
            </a:lvl3pPr>
            <a:lvl4pPr>
              <a:buClr>
                <a:schemeClr val="accent1"/>
              </a:buClr>
              <a:defRPr sz="1200" b="0" i="0">
                <a:solidFill>
                  <a:schemeClr val="accent3"/>
                </a:solidFill>
              </a:defRPr>
            </a:lvl4pPr>
            <a:lvl5pPr>
              <a:buClr>
                <a:schemeClr val="accent1"/>
              </a:buClr>
              <a:defRPr sz="1200" b="0" i="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3">
            <a:extLst>
              <a:ext uri="{FF2B5EF4-FFF2-40B4-BE49-F238E27FC236}">
                <a16:creationId xmlns:a16="http://schemas.microsoft.com/office/drawing/2014/main" id="{87FAA047-19F3-4E9B-8E1F-75657590850A}"/>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4111207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48DE2E-8BDC-4E36-9D7F-4A5E3AEB964C}"/>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grpSp>
        <p:nvGrpSpPr>
          <p:cNvPr id="10" name="Group 9">
            <a:extLst>
              <a:ext uri="{FF2B5EF4-FFF2-40B4-BE49-F238E27FC236}">
                <a16:creationId xmlns:a16="http://schemas.microsoft.com/office/drawing/2014/main" id="{D75B2052-6BCD-43D1-8A51-E12BD2A28685}"/>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7" name="Freeform: Shape 16">
              <a:extLst>
                <a:ext uri="{FF2B5EF4-FFF2-40B4-BE49-F238E27FC236}">
                  <a16:creationId xmlns:a16="http://schemas.microsoft.com/office/drawing/2014/main" id="{9EC5D55B-F1F7-4B7F-B264-7F995F80510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B8E515F4-DC9E-47F8-8543-4FDBF82B9681}"/>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5B2C71D2-960F-4A9A-B8F7-F9B11797C3AE}"/>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FB90DF89-5E51-4B40-BFB7-E1D917EA44AA}"/>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DDD6550B-0913-4C97-8A69-60037CF09958}"/>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23" name="Graphic 22">
            <a:extLst>
              <a:ext uri="{FF2B5EF4-FFF2-40B4-BE49-F238E27FC236}">
                <a16:creationId xmlns:a16="http://schemas.microsoft.com/office/drawing/2014/main" id="{FB7EB010-7D8E-4D69-B4F4-4021B25FA1DF}"/>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
        <p:nvSpPr>
          <p:cNvPr id="18" name="Picture Placeholder 23">
            <a:extLst>
              <a:ext uri="{FF2B5EF4-FFF2-40B4-BE49-F238E27FC236}">
                <a16:creationId xmlns:a16="http://schemas.microsoft.com/office/drawing/2014/main" id="{24C4BE84-8A7F-8E4E-8AEF-D1E6C1AD1575}"/>
              </a:ext>
              <a:ext uri="{C183D7F6-B498-43B3-948B-1728B52AA6E4}">
                <adec:decorative xmlns:adec="http://schemas.microsoft.com/office/drawing/2017/decorative" val="1"/>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5394105" cy="720197"/>
          </a:xfrm>
          <a:blipFill dpi="0" rotWithShape="1">
            <a:blip r:embed="rId5"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cap="none" baseline="0"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50000"/>
                  </a:schemeClr>
                </a:solidFill>
                <a:latin typeface="Century Gothic" panose="020B0502020202020204" pitchFamily="34" charset="0"/>
              </a:defRPr>
            </a:lvl1pPr>
          </a:lstStyle>
          <a:p>
            <a:pPr lvl="0"/>
            <a:r>
              <a:rPr lang="en-US" dirty="0"/>
              <a:t>Subtitle goes here</a:t>
            </a:r>
          </a:p>
        </p:txBody>
      </p:sp>
      <p:sp>
        <p:nvSpPr>
          <p:cNvPr id="12" name="Text Placeholder 2">
            <a:extLst>
              <a:ext uri="{FF2B5EF4-FFF2-40B4-BE49-F238E27FC236}">
                <a16:creationId xmlns:a16="http://schemas.microsoft.com/office/drawing/2014/main" id="{8D8FD65E-EA83-40BA-8C85-BD6868311BD0}"/>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4" name="Text Placeholder 4">
            <a:extLst>
              <a:ext uri="{FF2B5EF4-FFF2-40B4-BE49-F238E27FC236}">
                <a16:creationId xmlns:a16="http://schemas.microsoft.com/office/drawing/2014/main" id="{0A26A899-58C5-4C45-9F23-84FE7AB29F30}"/>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6" name="Text Placeholder 9">
            <a:extLst>
              <a:ext uri="{FF2B5EF4-FFF2-40B4-BE49-F238E27FC236}">
                <a16:creationId xmlns:a16="http://schemas.microsoft.com/office/drawing/2014/main" id="{8C33C9A8-71B8-44BE-AA5B-4E51D188E490}"/>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861585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Capco Services and Solution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172B90-F3DC-43C0-89F3-8DE17A9513CD}"/>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84" name="Rounded Rectangle 108">
            <a:extLst>
              <a:ext uri="{FF2B5EF4-FFF2-40B4-BE49-F238E27FC236}">
                <a16:creationId xmlns:a16="http://schemas.microsoft.com/office/drawing/2014/main" id="{7F0C0FF5-EEC1-4AF1-AB65-8EF5754F59F5}"/>
              </a:ext>
              <a:ext uri="{C183D7F6-B498-43B3-948B-1728B52AA6E4}">
                <adec:decorative xmlns:adec="http://schemas.microsoft.com/office/drawing/2017/decorative" val="1"/>
              </a:ext>
            </a:extLst>
          </p:cNvPr>
          <p:cNvSpPr/>
          <p:nvPr/>
        </p:nvSpPr>
        <p:spPr>
          <a:xfrm>
            <a:off x="1891622" y="5207602"/>
            <a:ext cx="9755428" cy="1030878"/>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8" name="Rectangle 137">
            <a:extLst>
              <a:ext uri="{FF2B5EF4-FFF2-40B4-BE49-F238E27FC236}">
                <a16:creationId xmlns:a16="http://schemas.microsoft.com/office/drawing/2014/main" id="{FA2DCC52-43A7-4E07-B2A4-CDBD69D784CC}"/>
              </a:ext>
              <a:ext uri="{C183D7F6-B498-43B3-948B-1728B52AA6E4}">
                <adec:decorative xmlns:adec="http://schemas.microsoft.com/office/drawing/2017/decorative" val="1"/>
              </a:ext>
            </a:extLst>
          </p:cNvPr>
          <p:cNvSpPr/>
          <p:nvPr userDrawn="1"/>
        </p:nvSpPr>
        <p:spPr>
          <a:xfrm>
            <a:off x="2844800" y="2831718"/>
            <a:ext cx="8802250" cy="31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139" name="Pentagon 7">
            <a:extLst>
              <a:ext uri="{FF2B5EF4-FFF2-40B4-BE49-F238E27FC236}">
                <a16:creationId xmlns:a16="http://schemas.microsoft.com/office/drawing/2014/main" id="{10B94910-040B-48D0-BA2D-F3B2F1FEC2D8}"/>
              </a:ext>
              <a:ext uri="{C183D7F6-B498-43B3-948B-1728B52AA6E4}">
                <adec:decorative xmlns:adec="http://schemas.microsoft.com/office/drawing/2017/decorative" val="1"/>
              </a:ext>
            </a:extLst>
          </p:cNvPr>
          <p:cNvSpPr/>
          <p:nvPr userDrawn="1"/>
        </p:nvSpPr>
        <p:spPr>
          <a:xfrm>
            <a:off x="559049" y="2831718"/>
            <a:ext cx="2514351" cy="314127"/>
          </a:xfrm>
          <a:prstGeom prst="homePlate">
            <a:avLst>
              <a:gd name="adj" fmla="val 43935"/>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ounded Rectangle 43">
            <a:extLst>
              <a:ext uri="{FF2B5EF4-FFF2-40B4-BE49-F238E27FC236}">
                <a16:creationId xmlns:a16="http://schemas.microsoft.com/office/drawing/2014/main" id="{638371CC-C4CE-4C49-90B0-4816431B9833}"/>
              </a:ext>
              <a:ext uri="{C183D7F6-B498-43B3-948B-1728B52AA6E4}">
                <adec:decorative xmlns:adec="http://schemas.microsoft.com/office/drawing/2017/decorative" val="1"/>
              </a:ext>
            </a:extLst>
          </p:cNvPr>
          <p:cNvSpPr/>
          <p:nvPr userDrawn="1"/>
        </p:nvSpPr>
        <p:spPr>
          <a:xfrm>
            <a:off x="1891622" y="4176723"/>
            <a:ext cx="9755428" cy="103087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4" name="Pentagon 45">
            <a:extLst>
              <a:ext uri="{FF2B5EF4-FFF2-40B4-BE49-F238E27FC236}">
                <a16:creationId xmlns:a16="http://schemas.microsoft.com/office/drawing/2014/main" id="{0840AE88-0470-4538-BA6B-63CED7007174}"/>
              </a:ext>
              <a:ext uri="{C183D7F6-B498-43B3-948B-1728B52AA6E4}">
                <adec:decorative xmlns:adec="http://schemas.microsoft.com/office/drawing/2017/decorative" val="1"/>
              </a:ext>
            </a:extLst>
          </p:cNvPr>
          <p:cNvSpPr/>
          <p:nvPr userDrawn="1"/>
        </p:nvSpPr>
        <p:spPr>
          <a:xfrm>
            <a:off x="559049" y="4176723"/>
            <a:ext cx="2642132" cy="1030878"/>
          </a:xfrm>
          <a:prstGeom prst="homePlate">
            <a:avLst>
              <a:gd name="adj" fmla="val 253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5" name="Pentagon 109">
            <a:extLst>
              <a:ext uri="{FF2B5EF4-FFF2-40B4-BE49-F238E27FC236}">
                <a16:creationId xmlns:a16="http://schemas.microsoft.com/office/drawing/2014/main" id="{95A3C803-27FA-42DD-B0BF-AFF2F90BE97D}"/>
              </a:ext>
              <a:ext uri="{C183D7F6-B498-43B3-948B-1728B52AA6E4}">
                <adec:decorative xmlns:adec="http://schemas.microsoft.com/office/drawing/2017/decorative" val="1"/>
              </a:ext>
            </a:extLst>
          </p:cNvPr>
          <p:cNvSpPr/>
          <p:nvPr/>
        </p:nvSpPr>
        <p:spPr>
          <a:xfrm>
            <a:off x="559049" y="5207602"/>
            <a:ext cx="2642132" cy="1030878"/>
          </a:xfrm>
          <a:prstGeom prst="homePlate">
            <a:avLst>
              <a:gd name="adj" fmla="val 2534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2" name="Rounded Rectangle 97">
            <a:extLst>
              <a:ext uri="{FF2B5EF4-FFF2-40B4-BE49-F238E27FC236}">
                <a16:creationId xmlns:a16="http://schemas.microsoft.com/office/drawing/2014/main" id="{32602A8D-A84D-47FA-8466-C6EBB6A50A75}"/>
              </a:ext>
              <a:ext uri="{C183D7F6-B498-43B3-948B-1728B52AA6E4}">
                <adec:decorative xmlns:adec="http://schemas.microsoft.com/office/drawing/2017/decorative" val="1"/>
              </a:ext>
            </a:extLst>
          </p:cNvPr>
          <p:cNvSpPr/>
          <p:nvPr/>
        </p:nvSpPr>
        <p:spPr>
          <a:xfrm>
            <a:off x="1891622" y="3145845"/>
            <a:ext cx="9755428" cy="1030878"/>
          </a:xfrm>
          <a:prstGeom prst="roundRect">
            <a:avLst>
              <a:gd name="adj" fmla="val 0"/>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3" name="Pentagon 98">
            <a:extLst>
              <a:ext uri="{FF2B5EF4-FFF2-40B4-BE49-F238E27FC236}">
                <a16:creationId xmlns:a16="http://schemas.microsoft.com/office/drawing/2014/main" id="{C1285645-21D2-4816-A944-6B54D63BEDB4}"/>
              </a:ext>
              <a:ext uri="{C183D7F6-B498-43B3-948B-1728B52AA6E4}">
                <adec:decorative xmlns:adec="http://schemas.microsoft.com/office/drawing/2017/decorative" val="1"/>
              </a:ext>
            </a:extLst>
          </p:cNvPr>
          <p:cNvSpPr/>
          <p:nvPr/>
        </p:nvSpPr>
        <p:spPr>
          <a:xfrm>
            <a:off x="559049" y="3145845"/>
            <a:ext cx="2642132" cy="1030878"/>
          </a:xfrm>
          <a:prstGeom prst="homePlate">
            <a:avLst>
              <a:gd name="adj" fmla="val 25343"/>
            </a:avLst>
          </a:prstGeom>
          <a:solidFill>
            <a:srgbClr val="E62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0" name="Rectangle 139">
            <a:extLst>
              <a:ext uri="{FF2B5EF4-FFF2-40B4-BE49-F238E27FC236}">
                <a16:creationId xmlns:a16="http://schemas.microsoft.com/office/drawing/2014/main" id="{BF872A10-6EE3-4B30-96DE-C7F54D592B94}"/>
              </a:ext>
              <a:ext uri="{C183D7F6-B498-43B3-948B-1728B52AA6E4}">
                <adec:decorative xmlns:adec="http://schemas.microsoft.com/office/drawing/2017/decorative" val="1"/>
              </a:ext>
            </a:extLst>
          </p:cNvPr>
          <p:cNvSpPr/>
          <p:nvPr userDrawn="1"/>
        </p:nvSpPr>
        <p:spPr>
          <a:xfrm>
            <a:off x="559048" y="2517591"/>
            <a:ext cx="11088001" cy="3141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latin typeface="Century Gothic" panose="020B0502020202020204" pitchFamily="34" charset="0"/>
            </a:endParaRPr>
          </a:p>
        </p:txBody>
      </p:sp>
      <p:sp>
        <p:nvSpPr>
          <p:cNvPr id="6" name="TextBox 5">
            <a:extLst>
              <a:ext uri="{FF2B5EF4-FFF2-40B4-BE49-F238E27FC236}">
                <a16:creationId xmlns:a16="http://schemas.microsoft.com/office/drawing/2014/main" id="{1F8338AC-4500-47E3-BBAF-D63CA2D1C27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cxnSp>
        <p:nvCxnSpPr>
          <p:cNvPr id="146" name="Straight Connector 145">
            <a:extLst>
              <a:ext uri="{FF2B5EF4-FFF2-40B4-BE49-F238E27FC236}">
                <a16:creationId xmlns:a16="http://schemas.microsoft.com/office/drawing/2014/main" id="{A1A2F8CE-C1F2-41DF-B787-B6766E840272}"/>
              </a:ext>
              <a:ext uri="{C183D7F6-B498-43B3-948B-1728B52AA6E4}">
                <adec:decorative xmlns:adec="http://schemas.microsoft.com/office/drawing/2017/decorative" val="1"/>
              </a:ext>
            </a:extLst>
          </p:cNvPr>
          <p:cNvCxnSpPr/>
          <p:nvPr userDrawn="1"/>
        </p:nvCxnSpPr>
        <p:spPr>
          <a:xfrm>
            <a:off x="2628790"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B8B36C99-0D7E-4859-8A71-E04C5BB529F0}"/>
              </a:ext>
              <a:ext uri="{C183D7F6-B498-43B3-948B-1728B52AA6E4}">
                <adec:decorative xmlns:adec="http://schemas.microsoft.com/office/drawing/2017/decorative" val="1"/>
              </a:ext>
            </a:extLst>
          </p:cNvPr>
          <p:cNvCxnSpPr/>
          <p:nvPr userDrawn="1"/>
        </p:nvCxnSpPr>
        <p:spPr>
          <a:xfrm>
            <a:off x="4919268"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A08FDD5-4229-4A94-B65D-208C147A58AF}"/>
              </a:ext>
              <a:ext uri="{C183D7F6-B498-43B3-948B-1728B52AA6E4}">
                <adec:decorative xmlns:adec="http://schemas.microsoft.com/office/drawing/2017/decorative" val="1"/>
              </a:ext>
            </a:extLst>
          </p:cNvPr>
          <p:cNvCxnSpPr/>
          <p:nvPr userDrawn="1"/>
        </p:nvCxnSpPr>
        <p:spPr>
          <a:xfrm>
            <a:off x="8200402"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B721550-57CA-45E7-A3CF-5B81F14C5E11}"/>
              </a:ext>
              <a:ext uri="{C183D7F6-B498-43B3-948B-1728B52AA6E4}">
                <adec:decorative xmlns:adec="http://schemas.microsoft.com/office/drawing/2017/decorative" val="1"/>
              </a:ext>
            </a:extLst>
          </p:cNvPr>
          <p:cNvCxnSpPr/>
          <p:nvPr userDrawn="1"/>
        </p:nvCxnSpPr>
        <p:spPr>
          <a:xfrm>
            <a:off x="10029215"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effectLst/>
                <a:uLnTx/>
                <a:uFillTx/>
                <a:latin typeface="Century Gothic" panose="020B0502020202020204" pitchFamily="34" charset="0"/>
                <a:ea typeface="+mj-ea"/>
                <a:cs typeface="+mj-cs"/>
              </a:rPr>
              <a:t>Capco Services and Solutions</a:t>
            </a:r>
          </a:p>
        </p:txBody>
      </p:sp>
      <p:sp>
        <p:nvSpPr>
          <p:cNvPr id="3" name="TextBox 2">
            <a:extLst>
              <a:ext uri="{FF2B5EF4-FFF2-40B4-BE49-F238E27FC236}">
                <a16:creationId xmlns:a16="http://schemas.microsoft.com/office/drawing/2014/main" id="{4A2B6AF3-362D-1F81-9403-1177F507E540}"/>
              </a:ext>
            </a:extLst>
          </p:cNvPr>
          <p:cNvSpPr txBox="1"/>
          <p:nvPr userDrawn="1"/>
        </p:nvSpPr>
        <p:spPr>
          <a:xfrm>
            <a:off x="559048" y="1192059"/>
            <a:ext cx="1108800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600" b="0" i="0" kern="1200" noProof="0" dirty="0">
                <a:solidFill>
                  <a:schemeClr val="accent3"/>
                </a:solidFill>
                <a:latin typeface="Calibri" panose="020F0502020204030204"/>
                <a:ea typeface="Verdana" panose="020B0604030504040204" pitchFamily="34" charset="0"/>
                <a:cs typeface="Calibri" panose="020F0502020204030204" pitchFamily="34" charset="0"/>
              </a:rPr>
              <a:t>Capco operates at the intersection of business and technology, by combining innovative thinking with unrivalled industry knowledge to fast-track Digital initiatives for Financial Services. Capco’s cutting-edge ingenuity is brought to life through its relevant Services underpinned by distinct Solutions and Offerings, and structured around market demand.</a:t>
            </a:r>
            <a:endParaRPr lang="en-US" sz="1600" b="0" i="0" kern="1200" dirty="0">
              <a:solidFill>
                <a:schemeClr val="accent3"/>
              </a:solidFill>
              <a:latin typeface="Calibri" panose="020F0502020204030204"/>
              <a:ea typeface="Verdana" panose="020B0604030504040204" pitchFamily="34" charset="0"/>
              <a:cs typeface="Calibri" panose="020F0502020204030204" pitchFamily="34" charset="0"/>
            </a:endParaRPr>
          </a:p>
        </p:txBody>
      </p:sp>
      <p:sp>
        <p:nvSpPr>
          <p:cNvPr id="141" name="Rectangle 140">
            <a:extLst>
              <a:ext uri="{FF2B5EF4-FFF2-40B4-BE49-F238E27FC236}">
                <a16:creationId xmlns:a16="http://schemas.microsoft.com/office/drawing/2014/main" id="{4E238967-E9F5-4215-ADAC-9A9539E73E92}"/>
              </a:ext>
            </a:extLst>
          </p:cNvPr>
          <p:cNvSpPr/>
          <p:nvPr userDrawn="1"/>
        </p:nvSpPr>
        <p:spPr>
          <a:xfrm>
            <a:off x="741615" y="2536155"/>
            <a:ext cx="170591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Banking &amp; Payments</a:t>
            </a:r>
          </a:p>
        </p:txBody>
      </p:sp>
      <p:sp>
        <p:nvSpPr>
          <p:cNvPr id="142" name="Rectangle 141">
            <a:extLst>
              <a:ext uri="{FF2B5EF4-FFF2-40B4-BE49-F238E27FC236}">
                <a16:creationId xmlns:a16="http://schemas.microsoft.com/office/drawing/2014/main" id="{5EC210AA-2B53-4DB2-A725-EF7E845D78A0}"/>
              </a:ext>
            </a:extLst>
          </p:cNvPr>
          <p:cNvSpPr/>
          <p:nvPr userDrawn="1"/>
        </p:nvSpPr>
        <p:spPr>
          <a:xfrm>
            <a:off x="3379144" y="2536155"/>
            <a:ext cx="136127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Capital Markets</a:t>
            </a:r>
          </a:p>
        </p:txBody>
      </p:sp>
      <p:sp>
        <p:nvSpPr>
          <p:cNvPr id="143" name="Rectangle 142">
            <a:extLst>
              <a:ext uri="{FF2B5EF4-FFF2-40B4-BE49-F238E27FC236}">
                <a16:creationId xmlns:a16="http://schemas.microsoft.com/office/drawing/2014/main" id="{3A2EF721-3959-4069-ADF7-408763769BEC}"/>
              </a:ext>
            </a:extLst>
          </p:cNvPr>
          <p:cNvSpPr/>
          <p:nvPr userDrawn="1"/>
        </p:nvSpPr>
        <p:spPr>
          <a:xfrm>
            <a:off x="5676836" y="2536155"/>
            <a:ext cx="233749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Wealth &amp; Asset Management</a:t>
            </a:r>
          </a:p>
        </p:txBody>
      </p:sp>
      <p:sp>
        <p:nvSpPr>
          <p:cNvPr id="144" name="Rectangle 143">
            <a:extLst>
              <a:ext uri="{FF2B5EF4-FFF2-40B4-BE49-F238E27FC236}">
                <a16:creationId xmlns:a16="http://schemas.microsoft.com/office/drawing/2014/main" id="{B680A911-9304-4917-9255-183AD7DE5557}"/>
              </a:ext>
            </a:extLst>
          </p:cNvPr>
          <p:cNvSpPr/>
          <p:nvPr userDrawn="1"/>
        </p:nvSpPr>
        <p:spPr>
          <a:xfrm>
            <a:off x="8940336" y="2536155"/>
            <a:ext cx="92044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Insurance</a:t>
            </a:r>
          </a:p>
        </p:txBody>
      </p:sp>
      <p:sp>
        <p:nvSpPr>
          <p:cNvPr id="145" name="Rectangle 144">
            <a:extLst>
              <a:ext uri="{FF2B5EF4-FFF2-40B4-BE49-F238E27FC236}">
                <a16:creationId xmlns:a16="http://schemas.microsoft.com/office/drawing/2014/main" id="{BB218501-6E0B-4742-849D-AA316D196397}"/>
              </a:ext>
            </a:extLst>
          </p:cNvPr>
          <p:cNvSpPr/>
          <p:nvPr userDrawn="1"/>
        </p:nvSpPr>
        <p:spPr>
          <a:xfrm>
            <a:off x="10749910" y="2536155"/>
            <a:ext cx="69602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Energy</a:t>
            </a:r>
          </a:p>
        </p:txBody>
      </p:sp>
      <p:sp>
        <p:nvSpPr>
          <p:cNvPr id="9" name="TextBox 8">
            <a:extLst>
              <a:ext uri="{FF2B5EF4-FFF2-40B4-BE49-F238E27FC236}">
                <a16:creationId xmlns:a16="http://schemas.microsoft.com/office/drawing/2014/main" id="{D8A9770F-9E37-8E08-B755-EAE03D03B2B0}"/>
              </a:ext>
            </a:extLst>
          </p:cNvPr>
          <p:cNvSpPr txBox="1"/>
          <p:nvPr userDrawn="1"/>
        </p:nvSpPr>
        <p:spPr>
          <a:xfrm>
            <a:off x="1334697" y="2850282"/>
            <a:ext cx="9630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ervices</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535468A3-A5CE-E6F5-E5CA-0A60F22FE919}"/>
              </a:ext>
            </a:extLst>
          </p:cNvPr>
          <p:cNvSpPr txBox="1"/>
          <p:nvPr userDrawn="1"/>
        </p:nvSpPr>
        <p:spPr>
          <a:xfrm>
            <a:off x="6613406" y="2850282"/>
            <a:ext cx="12650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olutions</a:t>
            </a:r>
          </a:p>
        </p:txBody>
      </p:sp>
      <p:sp>
        <p:nvSpPr>
          <p:cNvPr id="117" name="Rectangle 116">
            <a:extLst>
              <a:ext uri="{FF2B5EF4-FFF2-40B4-BE49-F238E27FC236}">
                <a16:creationId xmlns:a16="http://schemas.microsoft.com/office/drawing/2014/main" id="{0B3FD187-8A13-4CDB-BA33-C7A2029F3133}"/>
              </a:ext>
            </a:extLst>
          </p:cNvPr>
          <p:cNvSpPr/>
          <p:nvPr userDrawn="1"/>
        </p:nvSpPr>
        <p:spPr>
          <a:xfrm>
            <a:off x="1454268" y="3502184"/>
            <a:ext cx="1081191"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Digital</a:t>
            </a:r>
          </a:p>
        </p:txBody>
      </p:sp>
      <p:sp>
        <p:nvSpPr>
          <p:cNvPr id="116" name="Rectangle 115">
            <a:extLst>
              <a:ext uri="{FF2B5EF4-FFF2-40B4-BE49-F238E27FC236}">
                <a16:creationId xmlns:a16="http://schemas.microsoft.com/office/drawing/2014/main" id="{F3DAEB22-198D-45F4-B429-423B07D2A856}"/>
              </a:ext>
            </a:extLst>
          </p:cNvPr>
          <p:cNvSpPr/>
          <p:nvPr userDrawn="1"/>
        </p:nvSpPr>
        <p:spPr>
          <a:xfrm>
            <a:off x="4667975" y="3445840"/>
            <a:ext cx="1120994" cy="430887"/>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Digital</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Innovation</a:t>
            </a:r>
          </a:p>
        </p:txBody>
      </p:sp>
      <p:sp>
        <p:nvSpPr>
          <p:cNvPr id="124" name="Rectangle 123">
            <a:extLst>
              <a:ext uri="{FF2B5EF4-FFF2-40B4-BE49-F238E27FC236}">
                <a16:creationId xmlns:a16="http://schemas.microsoft.com/office/drawing/2014/main" id="{802B0E7C-FA50-431D-9699-44A48CBEF9ED}"/>
              </a:ext>
            </a:extLst>
          </p:cNvPr>
          <p:cNvSpPr/>
          <p:nvPr userDrawn="1"/>
        </p:nvSpPr>
        <p:spPr>
          <a:xfrm>
            <a:off x="6977706" y="3445840"/>
            <a:ext cx="1170949"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igital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Engineering</a:t>
            </a:r>
            <a:endParaRPr lang="en-US" sz="1600" dirty="0"/>
          </a:p>
        </p:txBody>
      </p:sp>
      <p:sp>
        <p:nvSpPr>
          <p:cNvPr id="123" name="Rectangle 122">
            <a:extLst>
              <a:ext uri="{FF2B5EF4-FFF2-40B4-BE49-F238E27FC236}">
                <a16:creationId xmlns:a16="http://schemas.microsoft.com/office/drawing/2014/main" id="{59DEE637-368C-415D-8302-E5BB980D6564}"/>
              </a:ext>
            </a:extLst>
          </p:cNvPr>
          <p:cNvSpPr/>
          <p:nvPr userDrawn="1"/>
        </p:nvSpPr>
        <p:spPr>
          <a:xfrm>
            <a:off x="9091520" y="3445840"/>
            <a:ext cx="1122597"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ata </a:t>
            </a:r>
            <a:br>
              <a:rPr lang="sk-SK"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a:t>
            </a:r>
            <a:r>
              <a:rPr lang="sk-SK" sz="1100" dirty="0">
                <a:solidFill>
                  <a:srgbClr val="FFFFFF"/>
                </a:solidFill>
                <a:latin typeface="Century Gothic" panose="020B0502020202020204" pitchFamily="34" charset="0"/>
              </a:rPr>
              <a:t> </a:t>
            </a:r>
            <a:r>
              <a:rPr lang="en-US" sz="1100" dirty="0">
                <a:solidFill>
                  <a:srgbClr val="FFFFFF"/>
                </a:solidFill>
                <a:latin typeface="Century Gothic" panose="020B0502020202020204" pitchFamily="34" charset="0"/>
              </a:rPr>
              <a:t>Analytics</a:t>
            </a:r>
            <a:endParaRPr lang="en-US" sz="1600" dirty="0"/>
          </a:p>
        </p:txBody>
      </p:sp>
      <p:sp>
        <p:nvSpPr>
          <p:cNvPr id="61" name="Rectangle 60">
            <a:extLst>
              <a:ext uri="{FF2B5EF4-FFF2-40B4-BE49-F238E27FC236}">
                <a16:creationId xmlns:a16="http://schemas.microsoft.com/office/drawing/2014/main" id="{E2D61285-105B-4011-B223-528D1746A65F}"/>
              </a:ext>
            </a:extLst>
          </p:cNvPr>
          <p:cNvSpPr/>
          <p:nvPr userDrawn="1"/>
        </p:nvSpPr>
        <p:spPr>
          <a:xfrm>
            <a:off x="1454268" y="4533061"/>
            <a:ext cx="1526881"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Consulting</a:t>
            </a:r>
          </a:p>
        </p:txBody>
      </p:sp>
      <p:sp>
        <p:nvSpPr>
          <p:cNvPr id="60" name="Rectangle 59">
            <a:extLst>
              <a:ext uri="{FF2B5EF4-FFF2-40B4-BE49-F238E27FC236}">
                <a16:creationId xmlns:a16="http://schemas.microsoft.com/office/drawing/2014/main" id="{7DDE4001-41F9-41A5-9C77-BB9534E1F824}"/>
              </a:ext>
            </a:extLst>
          </p:cNvPr>
          <p:cNvSpPr/>
          <p:nvPr userDrawn="1"/>
        </p:nvSpPr>
        <p:spPr>
          <a:xfrm>
            <a:off x="3837761" y="4561357"/>
            <a:ext cx="898176" cy="261610"/>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trategy</a:t>
            </a:r>
          </a:p>
        </p:txBody>
      </p:sp>
      <p:sp>
        <p:nvSpPr>
          <p:cNvPr id="68" name="Rectangle 67">
            <a:extLst>
              <a:ext uri="{FF2B5EF4-FFF2-40B4-BE49-F238E27FC236}">
                <a16:creationId xmlns:a16="http://schemas.microsoft.com/office/drawing/2014/main" id="{2BBE459A-4913-44E9-9F2E-5E1756B1D43B}"/>
              </a:ext>
            </a:extLst>
          </p:cNvPr>
          <p:cNvSpPr/>
          <p:nvPr userDrawn="1"/>
        </p:nvSpPr>
        <p:spPr>
          <a:xfrm>
            <a:off x="5751902" y="4476718"/>
            <a:ext cx="1526554"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Transformation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sp>
        <p:nvSpPr>
          <p:cNvPr id="75" name="Rectangle 74">
            <a:extLst>
              <a:ext uri="{FF2B5EF4-FFF2-40B4-BE49-F238E27FC236}">
                <a16:creationId xmlns:a16="http://schemas.microsoft.com/office/drawing/2014/main" id="{4600711F-09BE-42FD-B96A-6B5D52E4C9DF}"/>
              </a:ext>
            </a:extLst>
          </p:cNvPr>
          <p:cNvSpPr/>
          <p:nvPr userDrawn="1"/>
        </p:nvSpPr>
        <p:spPr>
          <a:xfrm>
            <a:off x="8318999" y="4476718"/>
            <a:ext cx="894970"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Change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sp>
        <p:nvSpPr>
          <p:cNvPr id="62" name="Rectangle 61">
            <a:extLst>
              <a:ext uri="{FF2B5EF4-FFF2-40B4-BE49-F238E27FC236}">
                <a16:creationId xmlns:a16="http://schemas.microsoft.com/office/drawing/2014/main" id="{6F921D75-1EDB-4896-B944-806B67A47F5D}"/>
              </a:ext>
            </a:extLst>
          </p:cNvPr>
          <p:cNvSpPr/>
          <p:nvPr userDrawn="1"/>
        </p:nvSpPr>
        <p:spPr>
          <a:xfrm>
            <a:off x="10170587" y="4476718"/>
            <a:ext cx="1476462"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Risk, Regulatory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 Compliance</a:t>
            </a:r>
          </a:p>
        </p:txBody>
      </p:sp>
      <p:sp>
        <p:nvSpPr>
          <p:cNvPr id="89" name="Rectangle 88">
            <a:extLst>
              <a:ext uri="{FF2B5EF4-FFF2-40B4-BE49-F238E27FC236}">
                <a16:creationId xmlns:a16="http://schemas.microsoft.com/office/drawing/2014/main" id="{9AB3A086-D48F-49D4-8AF6-D97A523801D4}"/>
              </a:ext>
            </a:extLst>
          </p:cNvPr>
          <p:cNvSpPr/>
          <p:nvPr userDrawn="1"/>
        </p:nvSpPr>
        <p:spPr>
          <a:xfrm>
            <a:off x="1454268" y="5563940"/>
            <a:ext cx="1671059"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Technology</a:t>
            </a:r>
          </a:p>
        </p:txBody>
      </p:sp>
      <p:sp>
        <p:nvSpPr>
          <p:cNvPr id="102" name="Rectangle 101">
            <a:extLst>
              <a:ext uri="{FF2B5EF4-FFF2-40B4-BE49-F238E27FC236}">
                <a16:creationId xmlns:a16="http://schemas.microsoft.com/office/drawing/2014/main" id="{F60F9711-2149-4BDF-AA8B-049BED74892E}"/>
              </a:ext>
            </a:extLst>
          </p:cNvPr>
          <p:cNvSpPr/>
          <p:nvPr userDrawn="1"/>
        </p:nvSpPr>
        <p:spPr>
          <a:xfrm>
            <a:off x="4626297" y="5507597"/>
            <a:ext cx="1204350" cy="430887"/>
          </a:xfrm>
          <a:prstGeom prst="rect">
            <a:avLst/>
          </a:prstGeom>
          <a:noFill/>
        </p:spPr>
        <p:txBody>
          <a:bodyPr wrap="square" lIns="144000">
            <a:spAutoFit/>
          </a:bodyPr>
          <a:lstStyle/>
          <a:p>
            <a:pPr algn="l"/>
            <a:r>
              <a:rPr lang="en-US" sz="1100" dirty="0">
                <a:solidFill>
                  <a:srgbClr val="FFFFFF"/>
                </a:solidFill>
                <a:latin typeface="Century Gothic" panose="020B0502020202020204" pitchFamily="34" charset="0"/>
              </a:rPr>
              <a:t>Technology</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dvisory </a:t>
            </a:r>
            <a:endParaRPr lang="en-US" sz="1600" dirty="0"/>
          </a:p>
        </p:txBody>
      </p:sp>
      <p:sp>
        <p:nvSpPr>
          <p:cNvPr id="103" name="Rectangle 102">
            <a:extLst>
              <a:ext uri="{FF2B5EF4-FFF2-40B4-BE49-F238E27FC236}">
                <a16:creationId xmlns:a16="http://schemas.microsoft.com/office/drawing/2014/main" id="{F3FC52EF-9C03-4E4C-93ED-A0B62A3C0FF2}"/>
              </a:ext>
            </a:extLst>
          </p:cNvPr>
          <p:cNvSpPr/>
          <p:nvPr userDrawn="1"/>
        </p:nvSpPr>
        <p:spPr>
          <a:xfrm>
            <a:off x="6997695" y="5507597"/>
            <a:ext cx="1201543" cy="430887"/>
          </a:xfrm>
          <a:prstGeom prst="rect">
            <a:avLst/>
          </a:prstGeom>
          <a:noFill/>
        </p:spPr>
        <p:txBody>
          <a:bodyPr wrap="square" lIns="144000">
            <a:spAutoFit/>
          </a:bodyPr>
          <a:lstStyle/>
          <a:p>
            <a:pPr algn="l"/>
            <a:r>
              <a:rPr lang="en-US" sz="1100" dirty="0">
                <a:solidFill>
                  <a:srgbClr val="FFFFFF"/>
                </a:solidFill>
                <a:latin typeface="Century Gothic" panose="020B0502020202020204" pitchFamily="34" charset="0"/>
              </a:rPr>
              <a:t>Systems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Integration </a:t>
            </a:r>
            <a:endParaRPr lang="en-US" sz="1600" dirty="0"/>
          </a:p>
        </p:txBody>
      </p:sp>
      <p:sp>
        <p:nvSpPr>
          <p:cNvPr id="88" name="Rectangle 87">
            <a:extLst>
              <a:ext uri="{FF2B5EF4-FFF2-40B4-BE49-F238E27FC236}">
                <a16:creationId xmlns:a16="http://schemas.microsoft.com/office/drawing/2014/main" id="{5F077350-EC56-407E-8004-C4AB03C6BA95}"/>
              </a:ext>
            </a:extLst>
          </p:cNvPr>
          <p:cNvSpPr/>
          <p:nvPr userDrawn="1"/>
        </p:nvSpPr>
        <p:spPr>
          <a:xfrm>
            <a:off x="9190773" y="5507597"/>
            <a:ext cx="861308" cy="430887"/>
          </a:xfrm>
          <a:prstGeom prst="rect">
            <a:avLst/>
          </a:prstGeom>
          <a:noFill/>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ecurity</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Services</a:t>
            </a:r>
          </a:p>
        </p:txBody>
      </p:sp>
      <p:sp>
        <p:nvSpPr>
          <p:cNvPr id="5" name="Footer Placeholder 3">
            <a:extLst>
              <a:ext uri="{FF2B5EF4-FFF2-40B4-BE49-F238E27FC236}">
                <a16:creationId xmlns:a16="http://schemas.microsoft.com/office/drawing/2014/main" id="{E99C7981-0EEE-4F6D-A405-BF1594469F15}"/>
              </a:ext>
            </a:extLst>
          </p:cNvPr>
          <p:cNvSpPr>
            <a:spLocks noGrp="1"/>
          </p:cNvSpPr>
          <p:nvPr userDrawn="1">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grpSp>
        <p:nvGrpSpPr>
          <p:cNvPr id="33" name="Group 32">
            <a:extLst>
              <a:ext uri="{FF2B5EF4-FFF2-40B4-BE49-F238E27FC236}">
                <a16:creationId xmlns:a16="http://schemas.microsoft.com/office/drawing/2014/main" id="{CB36E840-CCB5-4DA4-9657-98AE01FBA493}"/>
              </a:ext>
              <a:ext uri="{C183D7F6-B498-43B3-948B-1728B52AA6E4}">
                <adec:decorative xmlns:adec="http://schemas.microsoft.com/office/drawing/2017/decorative" val="1"/>
              </a:ext>
            </a:extLst>
          </p:cNvPr>
          <p:cNvGrpSpPr/>
          <p:nvPr userDrawn="1"/>
        </p:nvGrpSpPr>
        <p:grpSpPr>
          <a:xfrm>
            <a:off x="670282" y="4296162"/>
            <a:ext cx="792000" cy="792000"/>
            <a:chOff x="616942" y="4046295"/>
            <a:chExt cx="792000" cy="792000"/>
          </a:xfrm>
        </p:grpSpPr>
        <p:sp>
          <p:nvSpPr>
            <p:cNvPr id="47" name="Oval 46">
              <a:extLst>
                <a:ext uri="{FF2B5EF4-FFF2-40B4-BE49-F238E27FC236}">
                  <a16:creationId xmlns:a16="http://schemas.microsoft.com/office/drawing/2014/main" id="{1F6B2270-B48B-462E-8616-5604D4AA2962}"/>
                </a:ext>
              </a:extLst>
            </p:cNvPr>
            <p:cNvSpPr/>
            <p:nvPr userDrawn="1"/>
          </p:nvSpPr>
          <p:spPr>
            <a:xfrm>
              <a:off x="616942" y="4046295"/>
              <a:ext cx="792000" cy="79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48" name="Graphic 9">
              <a:extLst>
                <a:ext uri="{FF2B5EF4-FFF2-40B4-BE49-F238E27FC236}">
                  <a16:creationId xmlns:a16="http://schemas.microsoft.com/office/drawing/2014/main" id="{4175E06B-13B4-4787-BEB8-C78659D03CA2}"/>
                </a:ext>
              </a:extLst>
            </p:cNvPr>
            <p:cNvGrpSpPr/>
            <p:nvPr userDrawn="1"/>
          </p:nvGrpSpPr>
          <p:grpSpPr>
            <a:xfrm>
              <a:off x="767323" y="4304367"/>
              <a:ext cx="491239" cy="275856"/>
              <a:chOff x="11621209" y="1849943"/>
              <a:chExt cx="603193" cy="338726"/>
            </a:xfrm>
            <a:noFill/>
          </p:grpSpPr>
          <p:grpSp>
            <p:nvGrpSpPr>
              <p:cNvPr id="49" name="Graphic 9">
                <a:extLst>
                  <a:ext uri="{FF2B5EF4-FFF2-40B4-BE49-F238E27FC236}">
                    <a16:creationId xmlns:a16="http://schemas.microsoft.com/office/drawing/2014/main" id="{7C17A575-58A0-4DD4-97B3-9F43F6B90724}"/>
                  </a:ext>
                </a:extLst>
              </p:cNvPr>
              <p:cNvGrpSpPr/>
              <p:nvPr/>
            </p:nvGrpSpPr>
            <p:grpSpPr>
              <a:xfrm>
                <a:off x="11755527" y="1849943"/>
                <a:ext cx="325698" cy="338726"/>
                <a:chOff x="11755527" y="1849943"/>
                <a:chExt cx="325698" cy="338726"/>
              </a:xfrm>
              <a:noFill/>
            </p:grpSpPr>
            <p:sp>
              <p:nvSpPr>
                <p:cNvPr id="58" name="Freeform: Shape 352">
                  <a:extLst>
                    <a:ext uri="{FF2B5EF4-FFF2-40B4-BE49-F238E27FC236}">
                      <a16:creationId xmlns:a16="http://schemas.microsoft.com/office/drawing/2014/main" id="{410A68F1-6481-439B-BAE8-5597DB8C79EC}"/>
                    </a:ext>
                  </a:extLst>
                </p:cNvPr>
                <p:cNvSpPr/>
                <p:nvPr/>
              </p:nvSpPr>
              <p:spPr>
                <a:xfrm>
                  <a:off x="11770249" y="1849943"/>
                  <a:ext cx="312671" cy="338726"/>
                </a:xfrm>
                <a:custGeom>
                  <a:avLst/>
                  <a:gdLst>
                    <a:gd name="connsiteX0" fmla="*/ 315145 w 312670"/>
                    <a:gd name="connsiteY0" fmla="*/ 344850 h 338726"/>
                    <a:gd name="connsiteX1" fmla="*/ 315145 w 312670"/>
                    <a:gd name="connsiteY1" fmla="*/ 301206 h 338726"/>
                    <a:gd name="connsiteX2" fmla="*/ 300294 w 312670"/>
                    <a:gd name="connsiteY2" fmla="*/ 269809 h 338726"/>
                    <a:gd name="connsiteX3" fmla="*/ 211443 w 312670"/>
                    <a:gd name="connsiteY3" fmla="*/ 212225 h 338726"/>
                    <a:gd name="connsiteX4" fmla="*/ 211443 w 312670"/>
                    <a:gd name="connsiteY4" fmla="*/ 159723 h 338726"/>
                    <a:gd name="connsiteX5" fmla="*/ 224211 w 312670"/>
                    <a:gd name="connsiteY5" fmla="*/ 131061 h 338726"/>
                    <a:gd name="connsiteX6" fmla="*/ 224211 w 312670"/>
                    <a:gd name="connsiteY6" fmla="*/ 67224 h 338726"/>
                    <a:gd name="connsiteX7" fmla="*/ 156987 w 312670"/>
                    <a:gd name="connsiteY7" fmla="*/ 0 h 338726"/>
                    <a:gd name="connsiteX8" fmla="*/ 143307 w 312670"/>
                    <a:gd name="connsiteY8" fmla="*/ 0 h 338726"/>
                    <a:gd name="connsiteX9" fmla="*/ 76083 w 312670"/>
                    <a:gd name="connsiteY9" fmla="*/ 67224 h 338726"/>
                    <a:gd name="connsiteX10" fmla="*/ 76083 w 312670"/>
                    <a:gd name="connsiteY10" fmla="*/ 131061 h 338726"/>
                    <a:gd name="connsiteX11" fmla="*/ 88850 w 312670"/>
                    <a:gd name="connsiteY11" fmla="*/ 159723 h 338726"/>
                    <a:gd name="connsiteX12" fmla="*/ 88850 w 312670"/>
                    <a:gd name="connsiteY12" fmla="*/ 212225 h 338726"/>
                    <a:gd name="connsiteX13" fmla="*/ 0 w 312670"/>
                    <a:gd name="connsiteY13" fmla="*/ 269939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670" h="338726">
                      <a:moveTo>
                        <a:pt x="315145" y="344850"/>
                      </a:moveTo>
                      <a:lnTo>
                        <a:pt x="315145" y="301206"/>
                      </a:lnTo>
                      <a:cubicBezTo>
                        <a:pt x="315145" y="288960"/>
                        <a:pt x="309674" y="277495"/>
                        <a:pt x="300294" y="269809"/>
                      </a:cubicBezTo>
                      <a:cubicBezTo>
                        <a:pt x="264207" y="240105"/>
                        <a:pt x="225383" y="219391"/>
                        <a:pt x="211443" y="212225"/>
                      </a:cubicBezTo>
                      <a:lnTo>
                        <a:pt x="211443" y="159723"/>
                      </a:lnTo>
                      <a:cubicBezTo>
                        <a:pt x="219520" y="152427"/>
                        <a:pt x="224211" y="142135"/>
                        <a:pt x="224211" y="131061"/>
                      </a:cubicBezTo>
                      <a:lnTo>
                        <a:pt x="224211" y="67224"/>
                      </a:lnTo>
                      <a:cubicBezTo>
                        <a:pt x="224211" y="30095"/>
                        <a:pt x="193986" y="0"/>
                        <a:pt x="156987" y="0"/>
                      </a:cubicBezTo>
                      <a:lnTo>
                        <a:pt x="143307" y="0"/>
                      </a:lnTo>
                      <a:cubicBezTo>
                        <a:pt x="106178" y="0"/>
                        <a:pt x="76083" y="30225"/>
                        <a:pt x="76083" y="67224"/>
                      </a:cubicBezTo>
                      <a:lnTo>
                        <a:pt x="76083" y="131061"/>
                      </a:lnTo>
                      <a:cubicBezTo>
                        <a:pt x="76083" y="142135"/>
                        <a:pt x="80773" y="152427"/>
                        <a:pt x="88850" y="159723"/>
                      </a:cubicBezTo>
                      <a:lnTo>
                        <a:pt x="88850" y="212225"/>
                      </a:lnTo>
                      <a:cubicBezTo>
                        <a:pt x="74911" y="219391"/>
                        <a:pt x="36218" y="240235"/>
                        <a:pt x="0" y="269939"/>
                      </a:cubicBezTo>
                    </a:path>
                  </a:pathLst>
                </a:custGeom>
                <a:noFill/>
                <a:ln w="12700" cap="flat">
                  <a:solidFill>
                    <a:schemeClr val="bg1"/>
                  </a:solidFill>
                  <a:prstDash val="solid"/>
                  <a:round/>
                </a:ln>
              </p:spPr>
              <p:txBody>
                <a:bodyPr rtlCol="0" anchor="ctr"/>
                <a:lstStyle/>
                <a:p>
                  <a:endParaRPr lang="en-GB" sz="1600" dirty="0"/>
                </a:p>
              </p:txBody>
            </p:sp>
            <p:sp>
              <p:nvSpPr>
                <p:cNvPr id="59" name="Freeform: Shape 353">
                  <a:extLst>
                    <a:ext uri="{FF2B5EF4-FFF2-40B4-BE49-F238E27FC236}">
                      <a16:creationId xmlns:a16="http://schemas.microsoft.com/office/drawing/2014/main" id="{E3883CFE-7145-42F3-B92B-7BD54B173EDB}"/>
                    </a:ext>
                  </a:extLst>
                </p:cNvPr>
                <p:cNvSpPr/>
                <p:nvPr/>
              </p:nvSpPr>
              <p:spPr>
                <a:xfrm>
                  <a:off x="11755527" y="2119751"/>
                  <a:ext cx="13028" cy="65140"/>
                </a:xfrm>
                <a:custGeom>
                  <a:avLst/>
                  <a:gdLst>
                    <a:gd name="connsiteX0" fmla="*/ 14852 w 13027"/>
                    <a:gd name="connsiteY0" fmla="*/ 0 h 65139"/>
                    <a:gd name="connsiteX1" fmla="*/ 0 w 13027"/>
                    <a:gd name="connsiteY1" fmla="*/ 31397 h 65139"/>
                    <a:gd name="connsiteX2" fmla="*/ 0 w 13027"/>
                    <a:gd name="connsiteY2" fmla="*/ 75041 h 65139"/>
                  </a:gdLst>
                  <a:ahLst/>
                  <a:cxnLst>
                    <a:cxn ang="0">
                      <a:pos x="connsiteX0" y="connsiteY0"/>
                    </a:cxn>
                    <a:cxn ang="0">
                      <a:pos x="connsiteX1" y="connsiteY1"/>
                    </a:cxn>
                    <a:cxn ang="0">
                      <a:pos x="connsiteX2" y="connsiteY2"/>
                    </a:cxn>
                  </a:cxnLst>
                  <a:rect l="l" t="t" r="r" b="b"/>
                  <a:pathLst>
                    <a:path w="13027" h="65139">
                      <a:moveTo>
                        <a:pt x="14852" y="0"/>
                      </a:moveTo>
                      <a:cubicBezTo>
                        <a:pt x="5472" y="7686"/>
                        <a:pt x="0" y="19281"/>
                        <a:pt x="0" y="31397"/>
                      </a:cubicBezTo>
                      <a:lnTo>
                        <a:pt x="0" y="75041"/>
                      </a:lnTo>
                    </a:path>
                  </a:pathLst>
                </a:custGeom>
                <a:noFill/>
                <a:ln w="12700" cap="flat">
                  <a:solidFill>
                    <a:schemeClr val="bg1"/>
                  </a:solidFill>
                  <a:prstDash val="solid"/>
                  <a:round/>
                </a:ln>
              </p:spPr>
              <p:txBody>
                <a:bodyPr rtlCol="0" anchor="ctr"/>
                <a:lstStyle/>
                <a:p>
                  <a:endParaRPr lang="en-GB" sz="1600" dirty="0"/>
                </a:p>
              </p:txBody>
            </p:sp>
          </p:grpSp>
          <p:grpSp>
            <p:nvGrpSpPr>
              <p:cNvPr id="50" name="Graphic 9">
                <a:extLst>
                  <a:ext uri="{FF2B5EF4-FFF2-40B4-BE49-F238E27FC236}">
                    <a16:creationId xmlns:a16="http://schemas.microsoft.com/office/drawing/2014/main" id="{0F52F6FC-CEE7-4A11-8E98-4B0378992E8E}"/>
                  </a:ext>
                </a:extLst>
              </p:cNvPr>
              <p:cNvGrpSpPr/>
              <p:nvPr/>
            </p:nvGrpSpPr>
            <p:grpSpPr>
              <a:xfrm>
                <a:off x="12094123" y="1897495"/>
                <a:ext cx="130279" cy="52112"/>
                <a:chOff x="12094123" y="1897495"/>
                <a:chExt cx="130279" cy="52112"/>
              </a:xfrm>
              <a:noFill/>
            </p:grpSpPr>
            <p:grpSp>
              <p:nvGrpSpPr>
                <p:cNvPr id="54" name="Graphic 9">
                  <a:extLst>
                    <a:ext uri="{FF2B5EF4-FFF2-40B4-BE49-F238E27FC236}">
                      <a16:creationId xmlns:a16="http://schemas.microsoft.com/office/drawing/2014/main" id="{844E13DD-5540-4D89-8067-AD328CFD3842}"/>
                    </a:ext>
                  </a:extLst>
                </p:cNvPr>
                <p:cNvGrpSpPr/>
                <p:nvPr/>
              </p:nvGrpSpPr>
              <p:grpSpPr>
                <a:xfrm>
                  <a:off x="12094123" y="1897495"/>
                  <a:ext cx="130279" cy="52112"/>
                  <a:chOff x="12094123" y="1897495"/>
                  <a:chExt cx="130279" cy="52112"/>
                </a:xfrm>
              </p:grpSpPr>
              <p:sp>
                <p:nvSpPr>
                  <p:cNvPr id="56" name="Freeform: Shape 356">
                    <a:extLst>
                      <a:ext uri="{FF2B5EF4-FFF2-40B4-BE49-F238E27FC236}">
                        <a16:creationId xmlns:a16="http://schemas.microsoft.com/office/drawing/2014/main" id="{867F56DD-F81B-499E-859B-B412CB0A5F3D}"/>
                      </a:ext>
                    </a:extLst>
                  </p:cNvPr>
                  <p:cNvSpPr/>
                  <p:nvPr/>
                </p:nvSpPr>
                <p:spPr>
                  <a:xfrm>
                    <a:off x="12094123" y="1897495"/>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dirty="0"/>
                  </a:p>
                </p:txBody>
              </p:sp>
              <p:sp>
                <p:nvSpPr>
                  <p:cNvPr id="57" name="Freeform: Shape 357">
                    <a:extLst>
                      <a:ext uri="{FF2B5EF4-FFF2-40B4-BE49-F238E27FC236}">
                        <a16:creationId xmlns:a16="http://schemas.microsoft.com/office/drawing/2014/main" id="{2982CBE6-F7EE-4925-9392-620874FF045A}"/>
                      </a:ext>
                    </a:extLst>
                  </p:cNvPr>
                  <p:cNvSpPr/>
                  <p:nvPr/>
                </p:nvSpPr>
                <p:spPr>
                  <a:xfrm>
                    <a:off x="12094123" y="1950909"/>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dirty="0"/>
                  </a:p>
                </p:txBody>
              </p:sp>
            </p:grpSp>
            <p:sp>
              <p:nvSpPr>
                <p:cNvPr id="55" name="Freeform: Shape 358">
                  <a:extLst>
                    <a:ext uri="{FF2B5EF4-FFF2-40B4-BE49-F238E27FC236}">
                      <a16:creationId xmlns:a16="http://schemas.microsoft.com/office/drawing/2014/main" id="{B8DD4AC0-5095-4AE6-B806-1ED0278EA83F}"/>
                    </a:ext>
                  </a:extLst>
                </p:cNvPr>
                <p:cNvSpPr/>
                <p:nvPr/>
              </p:nvSpPr>
              <p:spPr>
                <a:xfrm>
                  <a:off x="12040709" y="1838087"/>
                  <a:ext cx="234503" cy="195419"/>
                </a:xfrm>
                <a:custGeom>
                  <a:avLst/>
                  <a:gdLst>
                    <a:gd name="connsiteX0" fmla="*/ 237760 w 234502"/>
                    <a:gd name="connsiteY0" fmla="*/ 0 h 195419"/>
                    <a:gd name="connsiteX1" fmla="*/ 237760 w 234502"/>
                    <a:gd name="connsiteY1" fmla="*/ 167670 h 195419"/>
                    <a:gd name="connsiteX2" fmla="*/ 61753 w 234502"/>
                    <a:gd name="connsiteY2" fmla="*/ 167670 h 195419"/>
                    <a:gd name="connsiteX3" fmla="*/ 30095 w 234502"/>
                    <a:gd name="connsiteY3" fmla="*/ 203757 h 195419"/>
                    <a:gd name="connsiteX4" fmla="*/ 30095 w 234502"/>
                    <a:gd name="connsiteY4" fmla="*/ 167670 h 195419"/>
                    <a:gd name="connsiteX5" fmla="*/ 0 w 234502"/>
                    <a:gd name="connsiteY5" fmla="*/ 167670 h 195419"/>
                    <a:gd name="connsiteX6" fmla="*/ 0 w 234502"/>
                    <a:gd name="connsiteY6" fmla="*/ 0 h 1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502" h="195419">
                      <a:moveTo>
                        <a:pt x="237760" y="0"/>
                      </a:moveTo>
                      <a:lnTo>
                        <a:pt x="237760" y="167670"/>
                      </a:lnTo>
                      <a:lnTo>
                        <a:pt x="61753" y="167670"/>
                      </a:lnTo>
                      <a:lnTo>
                        <a:pt x="30095" y="203757"/>
                      </a:lnTo>
                      <a:lnTo>
                        <a:pt x="30095" y="167670"/>
                      </a:lnTo>
                      <a:lnTo>
                        <a:pt x="0" y="167670"/>
                      </a:lnTo>
                      <a:lnTo>
                        <a:pt x="0" y="0"/>
                      </a:lnTo>
                      <a:close/>
                    </a:path>
                  </a:pathLst>
                </a:custGeom>
                <a:noFill/>
                <a:ln w="12700" cap="rnd">
                  <a:solidFill>
                    <a:schemeClr val="bg1"/>
                  </a:solidFill>
                  <a:prstDash val="solid"/>
                  <a:round/>
                </a:ln>
              </p:spPr>
              <p:txBody>
                <a:bodyPr rtlCol="0" anchor="ctr"/>
                <a:lstStyle/>
                <a:p>
                  <a:endParaRPr lang="en-GB" sz="1600" dirty="0"/>
                </a:p>
              </p:txBody>
            </p:sp>
          </p:grpSp>
          <p:grpSp>
            <p:nvGrpSpPr>
              <p:cNvPr id="51" name="Graphic 9">
                <a:extLst>
                  <a:ext uri="{FF2B5EF4-FFF2-40B4-BE49-F238E27FC236}">
                    <a16:creationId xmlns:a16="http://schemas.microsoft.com/office/drawing/2014/main" id="{CA9CB10A-17F3-4636-8962-3C245A599F96}"/>
                  </a:ext>
                </a:extLst>
              </p:cNvPr>
              <p:cNvGrpSpPr/>
              <p:nvPr/>
            </p:nvGrpSpPr>
            <p:grpSpPr>
              <a:xfrm>
                <a:off x="11621209" y="1895801"/>
                <a:ext cx="195419" cy="273587"/>
                <a:chOff x="11621209" y="1895801"/>
                <a:chExt cx="195419" cy="273587"/>
              </a:xfrm>
              <a:noFill/>
            </p:grpSpPr>
            <p:sp>
              <p:nvSpPr>
                <p:cNvPr id="52" name="Freeform: Shape 360">
                  <a:extLst>
                    <a:ext uri="{FF2B5EF4-FFF2-40B4-BE49-F238E27FC236}">
                      <a16:creationId xmlns:a16="http://schemas.microsoft.com/office/drawing/2014/main" id="{9A25B63C-B5EC-4312-9243-E2FF3A768398}"/>
                    </a:ext>
                  </a:extLst>
                </p:cNvPr>
                <p:cNvSpPr/>
                <p:nvPr/>
              </p:nvSpPr>
              <p:spPr>
                <a:xfrm>
                  <a:off x="11633586" y="1895801"/>
                  <a:ext cx="182391" cy="221475"/>
                </a:xfrm>
                <a:custGeom>
                  <a:avLst/>
                  <a:gdLst>
                    <a:gd name="connsiteX0" fmla="*/ 192032 w 182391"/>
                    <a:gd name="connsiteY0" fmla="*/ 184345 h 221474"/>
                    <a:gd name="connsiteX1" fmla="*/ 173532 w 182391"/>
                    <a:gd name="connsiteY1" fmla="*/ 174314 h 221474"/>
                    <a:gd name="connsiteX2" fmla="*/ 173532 w 182391"/>
                    <a:gd name="connsiteY2" fmla="*/ 131191 h 221474"/>
                    <a:gd name="connsiteX3" fmla="*/ 184085 w 182391"/>
                    <a:gd name="connsiteY3" fmla="*/ 107611 h 221474"/>
                    <a:gd name="connsiteX4" fmla="*/ 184085 w 182391"/>
                    <a:gd name="connsiteY4" fmla="*/ 55238 h 221474"/>
                    <a:gd name="connsiteX5" fmla="*/ 128847 w 182391"/>
                    <a:gd name="connsiteY5" fmla="*/ 0 h 221474"/>
                    <a:gd name="connsiteX6" fmla="*/ 117642 w 182391"/>
                    <a:gd name="connsiteY6" fmla="*/ 0 h 221474"/>
                    <a:gd name="connsiteX7" fmla="*/ 62404 w 182391"/>
                    <a:gd name="connsiteY7" fmla="*/ 55238 h 221474"/>
                    <a:gd name="connsiteX8" fmla="*/ 62404 w 182391"/>
                    <a:gd name="connsiteY8" fmla="*/ 107611 h 221474"/>
                    <a:gd name="connsiteX9" fmla="*/ 72957 w 182391"/>
                    <a:gd name="connsiteY9" fmla="*/ 131191 h 221474"/>
                    <a:gd name="connsiteX10" fmla="*/ 72957 w 182391"/>
                    <a:gd name="connsiteY10" fmla="*/ 174314 h 221474"/>
                    <a:gd name="connsiteX11" fmla="*/ 0 w 182391"/>
                    <a:gd name="connsiteY11" fmla="*/ 221736 h 22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91" h="221474">
                      <a:moveTo>
                        <a:pt x="192032" y="184345"/>
                      </a:moveTo>
                      <a:cubicBezTo>
                        <a:pt x="183954" y="179655"/>
                        <a:pt x="177440" y="176268"/>
                        <a:pt x="173532" y="174314"/>
                      </a:cubicBezTo>
                      <a:lnTo>
                        <a:pt x="173532" y="131191"/>
                      </a:lnTo>
                      <a:cubicBezTo>
                        <a:pt x="180177" y="125198"/>
                        <a:pt x="184085" y="116730"/>
                        <a:pt x="184085" y="107611"/>
                      </a:cubicBezTo>
                      <a:lnTo>
                        <a:pt x="184085" y="55238"/>
                      </a:lnTo>
                      <a:cubicBezTo>
                        <a:pt x="184085" y="24753"/>
                        <a:pt x="159332" y="0"/>
                        <a:pt x="128847" y="0"/>
                      </a:cubicBezTo>
                      <a:lnTo>
                        <a:pt x="117642" y="0"/>
                      </a:lnTo>
                      <a:cubicBezTo>
                        <a:pt x="87157" y="0"/>
                        <a:pt x="62404" y="24753"/>
                        <a:pt x="62404" y="55238"/>
                      </a:cubicBezTo>
                      <a:lnTo>
                        <a:pt x="62404" y="107611"/>
                      </a:lnTo>
                      <a:cubicBezTo>
                        <a:pt x="62404" y="116730"/>
                        <a:pt x="66312" y="125198"/>
                        <a:pt x="72957" y="131191"/>
                      </a:cubicBezTo>
                      <a:lnTo>
                        <a:pt x="72957" y="174314"/>
                      </a:lnTo>
                      <a:cubicBezTo>
                        <a:pt x="61492" y="180176"/>
                        <a:pt x="29704" y="197373"/>
                        <a:pt x="0" y="221736"/>
                      </a:cubicBezTo>
                    </a:path>
                  </a:pathLst>
                </a:custGeom>
                <a:noFill/>
                <a:ln w="12700" cap="flat">
                  <a:solidFill>
                    <a:schemeClr val="bg1"/>
                  </a:solidFill>
                  <a:prstDash val="solid"/>
                  <a:round/>
                </a:ln>
              </p:spPr>
              <p:txBody>
                <a:bodyPr rtlCol="0" anchor="ctr"/>
                <a:lstStyle/>
                <a:p>
                  <a:endParaRPr lang="en-GB" sz="1600" dirty="0"/>
                </a:p>
              </p:txBody>
            </p:sp>
            <p:sp>
              <p:nvSpPr>
                <p:cNvPr id="53" name="Freeform: Shape 361">
                  <a:extLst>
                    <a:ext uri="{FF2B5EF4-FFF2-40B4-BE49-F238E27FC236}">
                      <a16:creationId xmlns:a16="http://schemas.microsoft.com/office/drawing/2014/main" id="{86FBF627-159F-415F-8EF1-0D9E704E4E69}"/>
                    </a:ext>
                  </a:extLst>
                </p:cNvPr>
                <p:cNvSpPr/>
                <p:nvPr/>
              </p:nvSpPr>
              <p:spPr>
                <a:xfrm>
                  <a:off x="11621209" y="2117406"/>
                  <a:ext cx="13028" cy="52112"/>
                </a:xfrm>
                <a:custGeom>
                  <a:avLst/>
                  <a:gdLst>
                    <a:gd name="connsiteX0" fmla="*/ 12116 w 0"/>
                    <a:gd name="connsiteY0" fmla="*/ 0 h 52111"/>
                    <a:gd name="connsiteX1" fmla="*/ 0 w 0"/>
                    <a:gd name="connsiteY1" fmla="*/ 25795 h 52111"/>
                    <a:gd name="connsiteX2" fmla="*/ 0 w 0"/>
                    <a:gd name="connsiteY2" fmla="*/ 61622 h 52111"/>
                  </a:gdLst>
                  <a:ahLst/>
                  <a:cxnLst>
                    <a:cxn ang="0">
                      <a:pos x="connsiteX0" y="connsiteY0"/>
                    </a:cxn>
                    <a:cxn ang="0">
                      <a:pos x="connsiteX1" y="connsiteY1"/>
                    </a:cxn>
                    <a:cxn ang="0">
                      <a:pos x="connsiteX2" y="connsiteY2"/>
                    </a:cxn>
                  </a:cxnLst>
                  <a:rect l="l" t="t" r="r" b="b"/>
                  <a:pathLst>
                    <a:path h="52111">
                      <a:moveTo>
                        <a:pt x="12116" y="0"/>
                      </a:moveTo>
                      <a:cubicBezTo>
                        <a:pt x="4429" y="6253"/>
                        <a:pt x="0" y="15764"/>
                        <a:pt x="0" y="25795"/>
                      </a:cubicBezTo>
                      <a:lnTo>
                        <a:pt x="0" y="61622"/>
                      </a:lnTo>
                    </a:path>
                  </a:pathLst>
                </a:custGeom>
                <a:noFill/>
                <a:ln w="12700" cap="flat">
                  <a:solidFill>
                    <a:schemeClr val="bg1"/>
                  </a:solidFill>
                  <a:prstDash val="solid"/>
                  <a:round/>
                </a:ln>
              </p:spPr>
              <p:txBody>
                <a:bodyPr rtlCol="0" anchor="ctr"/>
                <a:lstStyle/>
                <a:p>
                  <a:endParaRPr lang="en-GB" sz="1600" dirty="0"/>
                </a:p>
              </p:txBody>
            </p:sp>
          </p:grpSp>
        </p:grpSp>
      </p:grpSp>
      <p:grpSp>
        <p:nvGrpSpPr>
          <p:cNvPr id="63" name="Group 62">
            <a:extLst>
              <a:ext uri="{FF2B5EF4-FFF2-40B4-BE49-F238E27FC236}">
                <a16:creationId xmlns:a16="http://schemas.microsoft.com/office/drawing/2014/main" id="{CEC74F8E-C767-4CE5-A14B-70A4ABB5FC2D}"/>
              </a:ext>
              <a:ext uri="{C183D7F6-B498-43B3-948B-1728B52AA6E4}">
                <adec:decorative xmlns:adec="http://schemas.microsoft.com/office/drawing/2017/decorative" val="1"/>
              </a:ext>
            </a:extLst>
          </p:cNvPr>
          <p:cNvGrpSpPr/>
          <p:nvPr userDrawn="1"/>
        </p:nvGrpSpPr>
        <p:grpSpPr>
          <a:xfrm>
            <a:off x="9766229" y="4495759"/>
            <a:ext cx="404358" cy="392805"/>
            <a:chOff x="9871351" y="2517379"/>
            <a:chExt cx="463688" cy="450440"/>
          </a:xfrm>
        </p:grpSpPr>
        <p:sp>
          <p:nvSpPr>
            <p:cNvPr id="64" name="Freeform: Shape 190">
              <a:extLst>
                <a:ext uri="{FF2B5EF4-FFF2-40B4-BE49-F238E27FC236}">
                  <a16:creationId xmlns:a16="http://schemas.microsoft.com/office/drawing/2014/main" id="{865A4F67-306B-49F7-96EE-2F9E99E1521B}"/>
                </a:ext>
              </a:extLst>
            </p:cNvPr>
            <p:cNvSpPr/>
            <p:nvPr/>
          </p:nvSpPr>
          <p:spPr>
            <a:xfrm>
              <a:off x="10108097" y="2675961"/>
              <a:ext cx="13248" cy="158979"/>
            </a:xfrm>
            <a:custGeom>
              <a:avLst/>
              <a:gdLst>
                <a:gd name="connsiteX0" fmla="*/ 0 w 0"/>
                <a:gd name="connsiteY0" fmla="*/ 0 h 158978"/>
                <a:gd name="connsiteX1" fmla="*/ 0 w 0"/>
                <a:gd name="connsiteY1" fmla="*/ 163351 h 158978"/>
              </a:gdLst>
              <a:ahLst/>
              <a:cxnLst>
                <a:cxn ang="0">
                  <a:pos x="connsiteX0" y="connsiteY0"/>
                </a:cxn>
                <a:cxn ang="0">
                  <a:pos x="connsiteX1" y="connsiteY1"/>
                </a:cxn>
              </a:cxnLst>
              <a:rect l="l" t="t" r="r" b="b"/>
              <a:pathLst>
                <a:path h="158978">
                  <a:moveTo>
                    <a:pt x="0" y="0"/>
                  </a:moveTo>
                  <a:lnTo>
                    <a:pt x="0" y="163351"/>
                  </a:lnTo>
                </a:path>
              </a:pathLst>
            </a:custGeom>
            <a:ln w="12700" cap="rnd">
              <a:solidFill>
                <a:schemeClr val="bg1"/>
              </a:solidFill>
              <a:prstDash val="solid"/>
              <a:round/>
            </a:ln>
          </p:spPr>
          <p:txBody>
            <a:bodyPr rtlCol="0" anchor="ctr"/>
            <a:lstStyle/>
            <a:p>
              <a:endParaRPr lang="en-GB" sz="1600" dirty="0"/>
            </a:p>
          </p:txBody>
        </p:sp>
        <p:sp>
          <p:nvSpPr>
            <p:cNvPr id="65" name="Freeform: Shape 191">
              <a:extLst>
                <a:ext uri="{FF2B5EF4-FFF2-40B4-BE49-F238E27FC236}">
                  <a16:creationId xmlns:a16="http://schemas.microsoft.com/office/drawing/2014/main" id="{00FA54F4-F0AC-4B0F-B034-096EC6108F13}"/>
                </a:ext>
              </a:extLst>
            </p:cNvPr>
            <p:cNvSpPr/>
            <p:nvPr/>
          </p:nvSpPr>
          <p:spPr>
            <a:xfrm>
              <a:off x="10101605" y="2875214"/>
              <a:ext cx="13248" cy="13248"/>
            </a:xfrm>
            <a:custGeom>
              <a:avLst/>
              <a:gdLst>
                <a:gd name="connsiteX0" fmla="*/ 12984 w 0"/>
                <a:gd name="connsiteY0" fmla="*/ 6492 h 0"/>
                <a:gd name="connsiteX1" fmla="*/ 6492 w 0"/>
                <a:gd name="connsiteY1" fmla="*/ 12983 h 0"/>
                <a:gd name="connsiteX2" fmla="*/ 0 w 0"/>
                <a:gd name="connsiteY2" fmla="*/ 6492 h 0"/>
                <a:gd name="connsiteX3" fmla="*/ 6492 w 0"/>
                <a:gd name="connsiteY3" fmla="*/ 0 h 0"/>
                <a:gd name="connsiteX4" fmla="*/ 12984 w 0"/>
                <a:gd name="connsiteY4" fmla="*/ 649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984" y="6492"/>
                  </a:moveTo>
                  <a:cubicBezTo>
                    <a:pt x="12984" y="10077"/>
                    <a:pt x="10077" y="12983"/>
                    <a:pt x="6492" y="12983"/>
                  </a:cubicBezTo>
                  <a:cubicBezTo>
                    <a:pt x="2907" y="12983"/>
                    <a:pt x="0" y="10077"/>
                    <a:pt x="0" y="6492"/>
                  </a:cubicBezTo>
                  <a:cubicBezTo>
                    <a:pt x="0" y="2906"/>
                    <a:pt x="2907" y="0"/>
                    <a:pt x="6492" y="0"/>
                  </a:cubicBezTo>
                  <a:cubicBezTo>
                    <a:pt x="10077" y="0"/>
                    <a:pt x="12984" y="2906"/>
                    <a:pt x="12984" y="6492"/>
                  </a:cubicBezTo>
                  <a:close/>
                </a:path>
              </a:pathLst>
            </a:custGeom>
            <a:noFill/>
            <a:ln w="12700" cap="rnd">
              <a:solidFill>
                <a:schemeClr val="bg1"/>
              </a:solidFill>
              <a:prstDash val="solid"/>
              <a:round/>
            </a:ln>
          </p:spPr>
          <p:txBody>
            <a:bodyPr rtlCol="0" anchor="ctr"/>
            <a:lstStyle/>
            <a:p>
              <a:endParaRPr lang="en-GB" sz="1600" dirty="0"/>
            </a:p>
          </p:txBody>
        </p:sp>
        <p:sp>
          <p:nvSpPr>
            <p:cNvPr id="66" name="Freeform: Shape 192">
              <a:extLst>
                <a:ext uri="{FF2B5EF4-FFF2-40B4-BE49-F238E27FC236}">
                  <a16:creationId xmlns:a16="http://schemas.microsoft.com/office/drawing/2014/main" id="{0CBBADB4-8575-441D-AB29-A6FF8E5F2654}"/>
                </a:ext>
              </a:extLst>
            </p:cNvPr>
            <p:cNvSpPr/>
            <p:nvPr/>
          </p:nvSpPr>
          <p:spPr>
            <a:xfrm>
              <a:off x="9871351" y="2517379"/>
              <a:ext cx="463688" cy="450440"/>
            </a:xfrm>
            <a:custGeom>
              <a:avLst/>
              <a:gdLst>
                <a:gd name="connsiteX0" fmla="*/ 0 w 463688"/>
                <a:gd name="connsiteY0" fmla="*/ 451235 h 450440"/>
                <a:gd name="connsiteX1" fmla="*/ 236747 w 463688"/>
                <a:gd name="connsiteY1" fmla="*/ 0 h 450440"/>
                <a:gd name="connsiteX2" fmla="*/ 473493 w 463688"/>
                <a:gd name="connsiteY2" fmla="*/ 451235 h 450440"/>
              </a:gdLst>
              <a:ahLst/>
              <a:cxnLst>
                <a:cxn ang="0">
                  <a:pos x="connsiteX0" y="connsiteY0"/>
                </a:cxn>
                <a:cxn ang="0">
                  <a:pos x="connsiteX1" y="connsiteY1"/>
                </a:cxn>
                <a:cxn ang="0">
                  <a:pos x="connsiteX2" y="connsiteY2"/>
                </a:cxn>
              </a:cxnLst>
              <a:rect l="l" t="t" r="r" b="b"/>
              <a:pathLst>
                <a:path w="463688" h="450440">
                  <a:moveTo>
                    <a:pt x="0" y="451235"/>
                  </a:moveTo>
                  <a:lnTo>
                    <a:pt x="236747" y="0"/>
                  </a:lnTo>
                  <a:lnTo>
                    <a:pt x="473493" y="451235"/>
                  </a:lnTo>
                  <a:close/>
                </a:path>
              </a:pathLst>
            </a:custGeom>
            <a:noFill/>
            <a:ln w="12700" cap="rnd">
              <a:solidFill>
                <a:schemeClr val="bg1"/>
              </a:solidFill>
              <a:prstDash val="solid"/>
              <a:round/>
            </a:ln>
          </p:spPr>
          <p:txBody>
            <a:bodyPr rtlCol="0" anchor="ctr"/>
            <a:lstStyle/>
            <a:p>
              <a:endParaRPr lang="en-GB" sz="1600" dirty="0"/>
            </a:p>
          </p:txBody>
        </p:sp>
      </p:grpSp>
      <p:grpSp>
        <p:nvGrpSpPr>
          <p:cNvPr id="19" name="Group 18">
            <a:extLst>
              <a:ext uri="{FF2B5EF4-FFF2-40B4-BE49-F238E27FC236}">
                <a16:creationId xmlns:a16="http://schemas.microsoft.com/office/drawing/2014/main" id="{29D57B36-C1E1-4988-AD5B-629CBB8F3F28}"/>
              </a:ext>
              <a:ext uri="{C183D7F6-B498-43B3-948B-1728B52AA6E4}">
                <adec:decorative xmlns:adec="http://schemas.microsoft.com/office/drawing/2017/decorative" val="1"/>
              </a:ext>
            </a:extLst>
          </p:cNvPr>
          <p:cNvGrpSpPr/>
          <p:nvPr userDrawn="1"/>
        </p:nvGrpSpPr>
        <p:grpSpPr>
          <a:xfrm>
            <a:off x="5288197" y="4479341"/>
            <a:ext cx="463705" cy="425641"/>
            <a:chOff x="5717324" y="3934620"/>
            <a:chExt cx="526593" cy="483367"/>
          </a:xfrm>
        </p:grpSpPr>
        <p:grpSp>
          <p:nvGrpSpPr>
            <p:cNvPr id="70" name="Graphic 8">
              <a:extLst>
                <a:ext uri="{FF2B5EF4-FFF2-40B4-BE49-F238E27FC236}">
                  <a16:creationId xmlns:a16="http://schemas.microsoft.com/office/drawing/2014/main" id="{4D780316-88C2-4B95-AC45-7C10FB62B68A}"/>
                </a:ext>
              </a:extLst>
            </p:cNvPr>
            <p:cNvGrpSpPr/>
            <p:nvPr/>
          </p:nvGrpSpPr>
          <p:grpSpPr>
            <a:xfrm>
              <a:off x="5717324" y="3934620"/>
              <a:ext cx="372882" cy="483367"/>
              <a:chOff x="670127" y="4633494"/>
              <a:chExt cx="427594" cy="554289"/>
            </a:xfrm>
            <a:noFill/>
          </p:grpSpPr>
          <p:sp>
            <p:nvSpPr>
              <p:cNvPr id="72" name="Freeform: Shape 541">
                <a:extLst>
                  <a:ext uri="{FF2B5EF4-FFF2-40B4-BE49-F238E27FC236}">
                    <a16:creationId xmlns:a16="http://schemas.microsoft.com/office/drawing/2014/main" id="{568CA89A-A01F-413A-96F8-4BBAFDA20A58}"/>
                  </a:ext>
                </a:extLst>
              </p:cNvPr>
              <p:cNvSpPr/>
              <p:nvPr/>
            </p:nvSpPr>
            <p:spPr>
              <a:xfrm>
                <a:off x="784311" y="4747677"/>
                <a:ext cx="269226" cy="332573"/>
              </a:xfrm>
              <a:custGeom>
                <a:avLst/>
                <a:gdLst>
                  <a:gd name="connsiteX0" fmla="*/ 278094 w 269225"/>
                  <a:gd name="connsiteY0" fmla="*/ 302325 h 332573"/>
                  <a:gd name="connsiteX1" fmla="*/ 170404 w 269225"/>
                  <a:gd name="connsiteY1" fmla="*/ 340650 h 332573"/>
                  <a:gd name="connsiteX2" fmla="*/ 0 w 269225"/>
                  <a:gd name="connsiteY2" fmla="*/ 170404 h 332573"/>
                  <a:gd name="connsiteX3" fmla="*/ 170404 w 269225"/>
                  <a:gd name="connsiteY3" fmla="*/ 0 h 332573"/>
                  <a:gd name="connsiteX4" fmla="*/ 265742 w 269225"/>
                  <a:gd name="connsiteY4" fmla="*/ 29140 h 332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5" h="332573">
                    <a:moveTo>
                      <a:pt x="278094" y="302325"/>
                    </a:moveTo>
                    <a:cubicBezTo>
                      <a:pt x="248796" y="326238"/>
                      <a:pt x="211263" y="340650"/>
                      <a:pt x="170404" y="340650"/>
                    </a:cubicBezTo>
                    <a:cubicBezTo>
                      <a:pt x="76333" y="340650"/>
                      <a:pt x="0" y="264316"/>
                      <a:pt x="0" y="170404"/>
                    </a:cubicBezTo>
                    <a:cubicBezTo>
                      <a:pt x="0" y="76175"/>
                      <a:pt x="76333" y="0"/>
                      <a:pt x="170404" y="0"/>
                    </a:cubicBezTo>
                    <a:cubicBezTo>
                      <a:pt x="205720" y="0"/>
                      <a:pt x="238502" y="10769"/>
                      <a:pt x="265742" y="29140"/>
                    </a:cubicBezTo>
                  </a:path>
                </a:pathLst>
              </a:custGeom>
              <a:noFill/>
              <a:ln w="12700" cap="rnd">
                <a:solidFill>
                  <a:schemeClr val="bg1"/>
                </a:solidFill>
                <a:prstDash val="solid"/>
                <a:round/>
              </a:ln>
            </p:spPr>
            <p:txBody>
              <a:bodyPr rtlCol="0" anchor="ctr"/>
              <a:lstStyle/>
              <a:p>
                <a:endParaRPr lang="en-GB" sz="1600" dirty="0"/>
              </a:p>
            </p:txBody>
          </p:sp>
          <p:sp>
            <p:nvSpPr>
              <p:cNvPr id="73" name="Freeform: Shape 542">
                <a:extLst>
                  <a:ext uri="{FF2B5EF4-FFF2-40B4-BE49-F238E27FC236}">
                    <a16:creationId xmlns:a16="http://schemas.microsoft.com/office/drawing/2014/main" id="{8B04CCEC-90AB-471F-A0CD-A2787E6D5277}"/>
                  </a:ext>
                </a:extLst>
              </p:cNvPr>
              <p:cNvSpPr/>
              <p:nvPr/>
            </p:nvSpPr>
            <p:spPr>
              <a:xfrm>
                <a:off x="670127" y="4633494"/>
                <a:ext cx="427594" cy="554289"/>
              </a:xfrm>
              <a:custGeom>
                <a:avLst/>
                <a:gdLst>
                  <a:gd name="connsiteX0" fmla="*/ 422526 w 427593"/>
                  <a:gd name="connsiteY0" fmla="*/ 87102 h 554288"/>
                  <a:gd name="connsiteX1" fmla="*/ 327980 w 427593"/>
                  <a:gd name="connsiteY1" fmla="*/ 47510 h 554288"/>
                  <a:gd name="connsiteX2" fmla="*/ 327980 w 427593"/>
                  <a:gd name="connsiteY2" fmla="*/ 22647 h 554288"/>
                  <a:gd name="connsiteX3" fmla="*/ 305334 w 427593"/>
                  <a:gd name="connsiteY3" fmla="*/ 0 h 554288"/>
                  <a:gd name="connsiteX4" fmla="*/ 263525 w 427593"/>
                  <a:gd name="connsiteY4" fmla="*/ 0 h 554288"/>
                  <a:gd name="connsiteX5" fmla="*/ 240878 w 427593"/>
                  <a:gd name="connsiteY5" fmla="*/ 22647 h 554288"/>
                  <a:gd name="connsiteX6" fmla="*/ 240878 w 427593"/>
                  <a:gd name="connsiteY6" fmla="*/ 47510 h 554288"/>
                  <a:gd name="connsiteX7" fmla="*/ 157418 w 427593"/>
                  <a:gd name="connsiteY7" fmla="*/ 79659 h 554288"/>
                  <a:gd name="connsiteX8" fmla="*/ 139206 w 427593"/>
                  <a:gd name="connsiteY8" fmla="*/ 61447 h 554288"/>
                  <a:gd name="connsiteX9" fmla="*/ 107215 w 427593"/>
                  <a:gd name="connsiteY9" fmla="*/ 61447 h 554288"/>
                  <a:gd name="connsiteX10" fmla="*/ 77600 w 427593"/>
                  <a:gd name="connsiteY10" fmla="*/ 90903 h 554288"/>
                  <a:gd name="connsiteX11" fmla="*/ 77600 w 427593"/>
                  <a:gd name="connsiteY11" fmla="*/ 123052 h 554288"/>
                  <a:gd name="connsiteX12" fmla="*/ 92804 w 427593"/>
                  <a:gd name="connsiteY12" fmla="*/ 138256 h 554288"/>
                  <a:gd name="connsiteX13" fmla="*/ 47194 w 427593"/>
                  <a:gd name="connsiteY13" fmla="*/ 240878 h 554288"/>
                  <a:gd name="connsiteX14" fmla="*/ 22805 w 427593"/>
                  <a:gd name="connsiteY14" fmla="*/ 240878 h 554288"/>
                  <a:gd name="connsiteX15" fmla="*/ 0 w 427593"/>
                  <a:gd name="connsiteY15" fmla="*/ 263683 h 554288"/>
                  <a:gd name="connsiteX16" fmla="*/ 0 w 427593"/>
                  <a:gd name="connsiteY16" fmla="*/ 305334 h 554288"/>
                  <a:gd name="connsiteX17" fmla="*/ 22805 w 427593"/>
                  <a:gd name="connsiteY17" fmla="*/ 328139 h 554288"/>
                  <a:gd name="connsiteX18" fmla="*/ 47510 w 427593"/>
                  <a:gd name="connsiteY18" fmla="*/ 328139 h 554288"/>
                  <a:gd name="connsiteX19" fmla="*/ 87102 w 427593"/>
                  <a:gd name="connsiteY19" fmla="*/ 422685 h 554288"/>
                  <a:gd name="connsiteX20" fmla="*/ 70791 w 427593"/>
                  <a:gd name="connsiteY20" fmla="*/ 438838 h 554288"/>
                  <a:gd name="connsiteX21" fmla="*/ 70791 w 427593"/>
                  <a:gd name="connsiteY21" fmla="*/ 470987 h 554288"/>
                  <a:gd name="connsiteX22" fmla="*/ 100405 w 427593"/>
                  <a:gd name="connsiteY22" fmla="*/ 500602 h 554288"/>
                  <a:gd name="connsiteX23" fmla="*/ 132396 w 427593"/>
                  <a:gd name="connsiteY23" fmla="*/ 500602 h 554288"/>
                  <a:gd name="connsiteX24" fmla="*/ 149183 w 427593"/>
                  <a:gd name="connsiteY24" fmla="*/ 483815 h 554288"/>
                  <a:gd name="connsiteX25" fmla="*/ 241036 w 427593"/>
                  <a:gd name="connsiteY25" fmla="*/ 521506 h 554288"/>
                  <a:gd name="connsiteX26" fmla="*/ 241036 w 427593"/>
                  <a:gd name="connsiteY26" fmla="*/ 546370 h 554288"/>
                  <a:gd name="connsiteX27" fmla="*/ 263683 w 427593"/>
                  <a:gd name="connsiteY27" fmla="*/ 569017 h 554288"/>
                  <a:gd name="connsiteX28" fmla="*/ 305492 w 427593"/>
                  <a:gd name="connsiteY28" fmla="*/ 569017 h 554288"/>
                  <a:gd name="connsiteX29" fmla="*/ 328139 w 427593"/>
                  <a:gd name="connsiteY29" fmla="*/ 546370 h 554288"/>
                  <a:gd name="connsiteX30" fmla="*/ 328139 w 427593"/>
                  <a:gd name="connsiteY30" fmla="*/ 521506 h 554288"/>
                  <a:gd name="connsiteX31" fmla="*/ 430920 w 427593"/>
                  <a:gd name="connsiteY31" fmla="*/ 475896 h 55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7593" h="554288">
                    <a:moveTo>
                      <a:pt x="422526" y="87102"/>
                    </a:moveTo>
                    <a:cubicBezTo>
                      <a:pt x="394812" y="67623"/>
                      <a:pt x="362663" y="53845"/>
                      <a:pt x="327980" y="47510"/>
                    </a:cubicBezTo>
                    <a:lnTo>
                      <a:pt x="327980" y="22647"/>
                    </a:lnTo>
                    <a:cubicBezTo>
                      <a:pt x="327980" y="10136"/>
                      <a:pt x="317845" y="0"/>
                      <a:pt x="305334" y="0"/>
                    </a:cubicBezTo>
                    <a:lnTo>
                      <a:pt x="263525" y="0"/>
                    </a:lnTo>
                    <a:cubicBezTo>
                      <a:pt x="251013" y="0"/>
                      <a:pt x="240878" y="10136"/>
                      <a:pt x="240878" y="22647"/>
                    </a:cubicBezTo>
                    <a:lnTo>
                      <a:pt x="240878" y="47510"/>
                    </a:lnTo>
                    <a:cubicBezTo>
                      <a:pt x="210788" y="52895"/>
                      <a:pt x="182598" y="64139"/>
                      <a:pt x="157418" y="79659"/>
                    </a:cubicBezTo>
                    <a:lnTo>
                      <a:pt x="139206" y="61447"/>
                    </a:lnTo>
                    <a:cubicBezTo>
                      <a:pt x="130337" y="52420"/>
                      <a:pt x="116084" y="52420"/>
                      <a:pt x="107215" y="61447"/>
                    </a:cubicBezTo>
                    <a:lnTo>
                      <a:pt x="77600" y="90903"/>
                    </a:lnTo>
                    <a:cubicBezTo>
                      <a:pt x="68732" y="99930"/>
                      <a:pt x="68732" y="114184"/>
                      <a:pt x="77600" y="123052"/>
                    </a:cubicBezTo>
                    <a:lnTo>
                      <a:pt x="92804" y="138256"/>
                    </a:lnTo>
                    <a:cubicBezTo>
                      <a:pt x="70157" y="167870"/>
                      <a:pt x="54320" y="202711"/>
                      <a:pt x="47194" y="240878"/>
                    </a:cubicBezTo>
                    <a:lnTo>
                      <a:pt x="22805" y="240878"/>
                    </a:lnTo>
                    <a:cubicBezTo>
                      <a:pt x="10294" y="240878"/>
                      <a:pt x="0" y="251172"/>
                      <a:pt x="0" y="263683"/>
                    </a:cubicBezTo>
                    <a:lnTo>
                      <a:pt x="0" y="305334"/>
                    </a:lnTo>
                    <a:cubicBezTo>
                      <a:pt x="0" y="317845"/>
                      <a:pt x="10294" y="328139"/>
                      <a:pt x="22805" y="328139"/>
                    </a:cubicBezTo>
                    <a:lnTo>
                      <a:pt x="47510" y="328139"/>
                    </a:lnTo>
                    <a:cubicBezTo>
                      <a:pt x="53845" y="362821"/>
                      <a:pt x="67623" y="394812"/>
                      <a:pt x="87102" y="422685"/>
                    </a:cubicBezTo>
                    <a:lnTo>
                      <a:pt x="70791" y="438838"/>
                    </a:lnTo>
                    <a:cubicBezTo>
                      <a:pt x="61922" y="447865"/>
                      <a:pt x="61922" y="462118"/>
                      <a:pt x="70791" y="470987"/>
                    </a:cubicBezTo>
                    <a:lnTo>
                      <a:pt x="100405" y="500602"/>
                    </a:lnTo>
                    <a:cubicBezTo>
                      <a:pt x="109274" y="509470"/>
                      <a:pt x="123527" y="509470"/>
                      <a:pt x="132396" y="500602"/>
                    </a:cubicBezTo>
                    <a:lnTo>
                      <a:pt x="149183" y="483815"/>
                    </a:lnTo>
                    <a:cubicBezTo>
                      <a:pt x="176422" y="502502"/>
                      <a:pt x="207462" y="515330"/>
                      <a:pt x="241036" y="521506"/>
                    </a:cubicBezTo>
                    <a:lnTo>
                      <a:pt x="241036" y="546370"/>
                    </a:lnTo>
                    <a:cubicBezTo>
                      <a:pt x="241036" y="558881"/>
                      <a:pt x="251172" y="569017"/>
                      <a:pt x="263683" y="569017"/>
                    </a:cubicBezTo>
                    <a:lnTo>
                      <a:pt x="305492" y="569017"/>
                    </a:lnTo>
                    <a:cubicBezTo>
                      <a:pt x="318003" y="569017"/>
                      <a:pt x="328139" y="558881"/>
                      <a:pt x="328139" y="546370"/>
                    </a:cubicBezTo>
                    <a:lnTo>
                      <a:pt x="328139" y="521506"/>
                    </a:lnTo>
                    <a:cubicBezTo>
                      <a:pt x="366306" y="514696"/>
                      <a:pt x="401305" y="498701"/>
                      <a:pt x="430920" y="475896"/>
                    </a:cubicBezTo>
                  </a:path>
                </a:pathLst>
              </a:custGeom>
              <a:noFill/>
              <a:ln w="12700" cap="rnd">
                <a:solidFill>
                  <a:schemeClr val="bg1"/>
                </a:solidFill>
                <a:prstDash val="solid"/>
                <a:round/>
              </a:ln>
            </p:spPr>
            <p:txBody>
              <a:bodyPr rtlCol="0" anchor="ctr"/>
              <a:lstStyle/>
              <a:p>
                <a:endParaRPr lang="en-GB" sz="1600" dirty="0"/>
              </a:p>
            </p:txBody>
          </p:sp>
        </p:grpSp>
        <p:sp>
          <p:nvSpPr>
            <p:cNvPr id="71" name="Freeform: Shape 543">
              <a:extLst>
                <a:ext uri="{FF2B5EF4-FFF2-40B4-BE49-F238E27FC236}">
                  <a16:creationId xmlns:a16="http://schemas.microsoft.com/office/drawing/2014/main" id="{0DB9AC87-C17A-4175-AA08-D0C8F2752640}"/>
                </a:ext>
              </a:extLst>
            </p:cNvPr>
            <p:cNvSpPr/>
            <p:nvPr/>
          </p:nvSpPr>
          <p:spPr>
            <a:xfrm>
              <a:off x="5967708" y="4088745"/>
              <a:ext cx="276209" cy="179537"/>
            </a:xfrm>
            <a:custGeom>
              <a:avLst/>
              <a:gdLst>
                <a:gd name="connsiteX0" fmla="*/ 0 w 316736"/>
                <a:gd name="connsiteY0" fmla="*/ 52262 h 205878"/>
                <a:gd name="connsiteX1" fmla="*/ 168504 w 316736"/>
                <a:gd name="connsiteY1" fmla="*/ 52262 h 205878"/>
                <a:gd name="connsiteX2" fmla="*/ 168504 w 316736"/>
                <a:gd name="connsiteY2" fmla="*/ 0 h 205878"/>
                <a:gd name="connsiteX3" fmla="*/ 248480 w 316736"/>
                <a:gd name="connsiteY3" fmla="*/ 53845 h 205878"/>
                <a:gd name="connsiteX4" fmla="*/ 328456 w 316736"/>
                <a:gd name="connsiteY4" fmla="*/ 107690 h 205878"/>
                <a:gd name="connsiteX5" fmla="*/ 248480 w 316736"/>
                <a:gd name="connsiteY5" fmla="*/ 161535 h 205878"/>
                <a:gd name="connsiteX6" fmla="*/ 168504 w 316736"/>
                <a:gd name="connsiteY6" fmla="*/ 215381 h 205878"/>
                <a:gd name="connsiteX7" fmla="*/ 168504 w 316736"/>
                <a:gd name="connsiteY7" fmla="*/ 163278 h 205878"/>
                <a:gd name="connsiteX8" fmla="*/ 0 w 316736"/>
                <a:gd name="connsiteY8" fmla="*/ 163278 h 20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736" h="205878">
                  <a:moveTo>
                    <a:pt x="0" y="52262"/>
                  </a:moveTo>
                  <a:lnTo>
                    <a:pt x="168504" y="52262"/>
                  </a:lnTo>
                  <a:lnTo>
                    <a:pt x="168504" y="0"/>
                  </a:lnTo>
                  <a:lnTo>
                    <a:pt x="248480" y="53845"/>
                  </a:lnTo>
                  <a:lnTo>
                    <a:pt x="328456" y="107690"/>
                  </a:lnTo>
                  <a:lnTo>
                    <a:pt x="248480" y="161535"/>
                  </a:lnTo>
                  <a:lnTo>
                    <a:pt x="168504" y="215381"/>
                  </a:lnTo>
                  <a:lnTo>
                    <a:pt x="168504" y="163278"/>
                  </a:lnTo>
                  <a:lnTo>
                    <a:pt x="0" y="163278"/>
                  </a:lnTo>
                </a:path>
              </a:pathLst>
            </a:custGeom>
            <a:noFill/>
            <a:ln w="12700" cap="rnd">
              <a:solidFill>
                <a:schemeClr val="bg1"/>
              </a:solidFill>
              <a:prstDash val="solid"/>
              <a:round/>
            </a:ln>
          </p:spPr>
          <p:txBody>
            <a:bodyPr rtlCol="0" anchor="ctr"/>
            <a:lstStyle/>
            <a:p>
              <a:endParaRPr lang="en-GB" sz="1600" dirty="0"/>
            </a:p>
          </p:txBody>
        </p:sp>
      </p:grpSp>
      <p:grpSp>
        <p:nvGrpSpPr>
          <p:cNvPr id="76" name="Group 75">
            <a:extLst>
              <a:ext uri="{FF2B5EF4-FFF2-40B4-BE49-F238E27FC236}">
                <a16:creationId xmlns:a16="http://schemas.microsoft.com/office/drawing/2014/main" id="{60DC20EC-45A6-46E4-ADA1-BF35C0D0924F}"/>
              </a:ext>
              <a:ext uri="{C183D7F6-B498-43B3-948B-1728B52AA6E4}">
                <adec:decorative xmlns:adec="http://schemas.microsoft.com/office/drawing/2017/decorative" val="1"/>
              </a:ext>
            </a:extLst>
          </p:cNvPr>
          <p:cNvGrpSpPr/>
          <p:nvPr userDrawn="1"/>
        </p:nvGrpSpPr>
        <p:grpSpPr>
          <a:xfrm>
            <a:off x="7830716" y="4500118"/>
            <a:ext cx="488282" cy="384088"/>
            <a:chOff x="4963904" y="2379608"/>
            <a:chExt cx="635863" cy="500177"/>
          </a:xfrm>
        </p:grpSpPr>
        <p:sp>
          <p:nvSpPr>
            <p:cNvPr id="77" name="Freeform: Shape 128">
              <a:extLst>
                <a:ext uri="{FF2B5EF4-FFF2-40B4-BE49-F238E27FC236}">
                  <a16:creationId xmlns:a16="http://schemas.microsoft.com/office/drawing/2014/main" id="{DF1CE429-69DA-47C0-921D-E8F77B12F4FD}"/>
                </a:ext>
              </a:extLst>
            </p:cNvPr>
            <p:cNvSpPr/>
            <p:nvPr/>
          </p:nvSpPr>
          <p:spPr>
            <a:xfrm>
              <a:off x="4963904" y="2379608"/>
              <a:ext cx="404842" cy="261189"/>
            </a:xfrm>
            <a:custGeom>
              <a:avLst/>
              <a:gdLst>
                <a:gd name="connsiteX0" fmla="*/ 0 w 295275"/>
                <a:gd name="connsiteY0" fmla="*/ 98108 h 190500"/>
                <a:gd name="connsiteX1" fmla="*/ 72771 w 295275"/>
                <a:gd name="connsiteY1" fmla="*/ 49054 h 190500"/>
                <a:gd name="connsiteX2" fmla="*/ 145542 w 295275"/>
                <a:gd name="connsiteY2" fmla="*/ 0 h 190500"/>
                <a:gd name="connsiteX3" fmla="*/ 145542 w 295275"/>
                <a:gd name="connsiteY3" fmla="*/ 47530 h 190500"/>
                <a:gd name="connsiteX4" fmla="*/ 298990 w 295275"/>
                <a:gd name="connsiteY4" fmla="*/ 47530 h 190500"/>
                <a:gd name="connsiteX5" fmla="*/ 298990 w 295275"/>
                <a:gd name="connsiteY5" fmla="*/ 148590 h 190500"/>
                <a:gd name="connsiteX6" fmla="*/ 145542 w 295275"/>
                <a:gd name="connsiteY6" fmla="*/ 148590 h 190500"/>
                <a:gd name="connsiteX7" fmla="*/ 145542 w 295275"/>
                <a:gd name="connsiteY7" fmla="*/ 196120 h 190500"/>
                <a:gd name="connsiteX8" fmla="*/ 72771 w 295275"/>
                <a:gd name="connsiteY8" fmla="*/ 14716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0" y="98108"/>
                  </a:moveTo>
                  <a:lnTo>
                    <a:pt x="72771" y="49054"/>
                  </a:lnTo>
                  <a:lnTo>
                    <a:pt x="145542" y="0"/>
                  </a:lnTo>
                  <a:lnTo>
                    <a:pt x="145542" y="47530"/>
                  </a:lnTo>
                  <a:lnTo>
                    <a:pt x="298990" y="47530"/>
                  </a:lnTo>
                  <a:lnTo>
                    <a:pt x="298990" y="148590"/>
                  </a:lnTo>
                  <a:lnTo>
                    <a:pt x="145542" y="148590"/>
                  </a:lnTo>
                  <a:lnTo>
                    <a:pt x="145542" y="196120"/>
                  </a:lnTo>
                  <a:lnTo>
                    <a:pt x="72771" y="147161"/>
                  </a:lnTo>
                  <a:close/>
                </a:path>
              </a:pathLst>
            </a:custGeom>
            <a:noFill/>
            <a:ln w="12700" cap="rnd">
              <a:solidFill>
                <a:schemeClr val="bg1"/>
              </a:solidFill>
              <a:prstDash val="solid"/>
              <a:round/>
            </a:ln>
          </p:spPr>
          <p:txBody>
            <a:bodyPr rtlCol="0" anchor="ctr"/>
            <a:lstStyle/>
            <a:p>
              <a:endParaRPr lang="en-GB" sz="1600" dirty="0"/>
            </a:p>
          </p:txBody>
        </p:sp>
        <p:sp>
          <p:nvSpPr>
            <p:cNvPr id="78" name="Freeform: Shape 129">
              <a:extLst>
                <a:ext uri="{FF2B5EF4-FFF2-40B4-BE49-F238E27FC236}">
                  <a16:creationId xmlns:a16="http://schemas.microsoft.com/office/drawing/2014/main" id="{5646303B-1E81-4C39-A788-0AA8B6EFFB84}"/>
                </a:ext>
              </a:extLst>
            </p:cNvPr>
            <p:cNvSpPr/>
            <p:nvPr/>
          </p:nvSpPr>
          <p:spPr>
            <a:xfrm>
              <a:off x="5194925" y="2618596"/>
              <a:ext cx="404842" cy="261189"/>
            </a:xfrm>
            <a:custGeom>
              <a:avLst/>
              <a:gdLst>
                <a:gd name="connsiteX0" fmla="*/ 299085 w 295275"/>
                <a:gd name="connsiteY0" fmla="*/ 98108 h 190500"/>
                <a:gd name="connsiteX1" fmla="*/ 226314 w 295275"/>
                <a:gd name="connsiteY1" fmla="*/ 147161 h 190500"/>
                <a:gd name="connsiteX2" fmla="*/ 153543 w 295275"/>
                <a:gd name="connsiteY2" fmla="*/ 196215 h 190500"/>
                <a:gd name="connsiteX3" fmla="*/ 153543 w 295275"/>
                <a:gd name="connsiteY3" fmla="*/ 148590 h 190500"/>
                <a:gd name="connsiteX4" fmla="*/ 0 w 295275"/>
                <a:gd name="connsiteY4" fmla="*/ 148590 h 190500"/>
                <a:gd name="connsiteX5" fmla="*/ 0 w 295275"/>
                <a:gd name="connsiteY5" fmla="*/ 47625 h 190500"/>
                <a:gd name="connsiteX6" fmla="*/ 153543 w 295275"/>
                <a:gd name="connsiteY6" fmla="*/ 47625 h 190500"/>
                <a:gd name="connsiteX7" fmla="*/ 153543 w 295275"/>
                <a:gd name="connsiteY7" fmla="*/ 0 h 190500"/>
                <a:gd name="connsiteX8" fmla="*/ 226314 w 295275"/>
                <a:gd name="connsiteY8" fmla="*/ 49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299085" y="98108"/>
                  </a:moveTo>
                  <a:lnTo>
                    <a:pt x="226314" y="147161"/>
                  </a:lnTo>
                  <a:lnTo>
                    <a:pt x="153543" y="196215"/>
                  </a:lnTo>
                  <a:lnTo>
                    <a:pt x="153543" y="148590"/>
                  </a:lnTo>
                  <a:lnTo>
                    <a:pt x="0" y="148590"/>
                  </a:lnTo>
                  <a:lnTo>
                    <a:pt x="0" y="47625"/>
                  </a:lnTo>
                  <a:lnTo>
                    <a:pt x="153543" y="47625"/>
                  </a:lnTo>
                  <a:lnTo>
                    <a:pt x="153543" y="0"/>
                  </a:lnTo>
                  <a:lnTo>
                    <a:pt x="226314" y="49054"/>
                  </a:lnTo>
                  <a:close/>
                </a:path>
              </a:pathLst>
            </a:custGeom>
            <a:noFill/>
            <a:ln w="12700" cap="rnd">
              <a:solidFill>
                <a:schemeClr val="bg1"/>
              </a:solidFill>
              <a:prstDash val="solid"/>
              <a:round/>
            </a:ln>
          </p:spPr>
          <p:txBody>
            <a:bodyPr rtlCol="0" anchor="ctr"/>
            <a:lstStyle/>
            <a:p>
              <a:endParaRPr lang="en-GB" sz="1600" dirty="0"/>
            </a:p>
          </p:txBody>
        </p:sp>
      </p:grpSp>
      <p:grpSp>
        <p:nvGrpSpPr>
          <p:cNvPr id="79" name="Group 78">
            <a:extLst>
              <a:ext uri="{FF2B5EF4-FFF2-40B4-BE49-F238E27FC236}">
                <a16:creationId xmlns:a16="http://schemas.microsoft.com/office/drawing/2014/main" id="{EEB2E5C4-742E-4640-BFE0-2CB4843C4915}"/>
              </a:ext>
              <a:ext uri="{C183D7F6-B498-43B3-948B-1728B52AA6E4}">
                <adec:decorative xmlns:adec="http://schemas.microsoft.com/office/drawing/2017/decorative" val="1"/>
              </a:ext>
            </a:extLst>
          </p:cNvPr>
          <p:cNvGrpSpPr/>
          <p:nvPr userDrawn="1"/>
        </p:nvGrpSpPr>
        <p:grpSpPr>
          <a:xfrm>
            <a:off x="3360987" y="4447730"/>
            <a:ext cx="476774" cy="488864"/>
            <a:chOff x="8647438" y="5393592"/>
            <a:chExt cx="681361" cy="698639"/>
          </a:xfrm>
        </p:grpSpPr>
        <p:sp>
          <p:nvSpPr>
            <p:cNvPr id="80" name="Freeform: Shape 525">
              <a:extLst>
                <a:ext uri="{FF2B5EF4-FFF2-40B4-BE49-F238E27FC236}">
                  <a16:creationId xmlns:a16="http://schemas.microsoft.com/office/drawing/2014/main" id="{4F6674D8-DCB4-455B-A890-0917C892573A}"/>
                </a:ext>
              </a:extLst>
            </p:cNvPr>
            <p:cNvSpPr/>
            <p:nvPr/>
          </p:nvSpPr>
          <p:spPr>
            <a:xfrm>
              <a:off x="8852158" y="5393592"/>
              <a:ext cx="338726" cy="338726"/>
            </a:xfrm>
            <a:custGeom>
              <a:avLst/>
              <a:gdLst>
                <a:gd name="connsiteX0" fmla="*/ 55759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3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4 w 338726"/>
                <a:gd name="connsiteY18" fmla="*/ 226816 h 338726"/>
                <a:gd name="connsiteX19" fmla="*/ 342374 w 338726"/>
                <a:gd name="connsiteY19" fmla="*/ 171057 h 338726"/>
                <a:gd name="connsiteX20" fmla="*/ 286224 w 338726"/>
                <a:gd name="connsiteY20" fmla="*/ 114906 h 338726"/>
                <a:gd name="connsiteX21" fmla="*/ 283879 w 338726"/>
                <a:gd name="connsiteY21" fmla="*/ 105657 h 338726"/>
                <a:gd name="connsiteX22" fmla="*/ 290783 w 338726"/>
                <a:gd name="connsiteY22" fmla="*/ 98752 h 338726"/>
                <a:gd name="connsiteX23" fmla="*/ 308241 w 338726"/>
                <a:gd name="connsiteY23" fmla="*/ 88850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4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1 h 338726"/>
                <a:gd name="connsiteX33" fmla="*/ 88590 w 338726"/>
                <a:gd name="connsiteY33" fmla="*/ 34524 h 338726"/>
                <a:gd name="connsiteX34" fmla="*/ 33743 w 338726"/>
                <a:gd name="connsiteY34" fmla="*/ 34524 h 338726"/>
                <a:gd name="connsiteX35" fmla="*/ 33743 w 338726"/>
                <a:gd name="connsiteY35" fmla="*/ 89372 h 338726"/>
                <a:gd name="connsiteX36" fmla="*/ 51200 w 338726"/>
                <a:gd name="connsiteY36" fmla="*/ 99273 h 338726"/>
                <a:gd name="connsiteX37" fmla="*/ 58105 w 338726"/>
                <a:gd name="connsiteY37" fmla="*/ 106178 h 338726"/>
                <a:gd name="connsiteX38" fmla="*/ 55759 w 338726"/>
                <a:gd name="connsiteY38" fmla="*/ 115428 h 338726"/>
                <a:gd name="connsiteX39" fmla="*/ 0 w 338726"/>
                <a:gd name="connsiteY39" fmla="*/ 171187 h 338726"/>
                <a:gd name="connsiteX40" fmla="*/ 55759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59" y="226947"/>
                  </a:moveTo>
                  <a:cubicBezTo>
                    <a:pt x="58105" y="229292"/>
                    <a:pt x="61883" y="230334"/>
                    <a:pt x="65009" y="229292"/>
                  </a:cubicBezTo>
                  <a:cubicBezTo>
                    <a:pt x="68396" y="228640"/>
                    <a:pt x="71133" y="225904"/>
                    <a:pt x="71914" y="222387"/>
                  </a:cubicBezTo>
                  <a:cubicBezTo>
                    <a:pt x="73608" y="215873"/>
                    <a:pt x="76995" y="209750"/>
                    <a:pt x="81815" y="204929"/>
                  </a:cubicBezTo>
                  <a:cubicBezTo>
                    <a:pt x="96928" y="189817"/>
                    <a:pt x="121551" y="189817"/>
                    <a:pt x="136663" y="204929"/>
                  </a:cubicBezTo>
                  <a:cubicBezTo>
                    <a:pt x="151776" y="220042"/>
                    <a:pt x="152036" y="245056"/>
                    <a:pt x="137054" y="260038"/>
                  </a:cubicBezTo>
                  <a:cubicBezTo>
                    <a:pt x="132234" y="264858"/>
                    <a:pt x="126111" y="268245"/>
                    <a:pt x="119597" y="269939"/>
                  </a:cubicBezTo>
                  <a:cubicBezTo>
                    <a:pt x="116209" y="270590"/>
                    <a:pt x="113473" y="273326"/>
                    <a:pt x="112692" y="276844"/>
                  </a:cubicBezTo>
                  <a:cubicBezTo>
                    <a:pt x="112040" y="280231"/>
                    <a:pt x="112692" y="283749"/>
                    <a:pt x="115037" y="286093"/>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19" y="322832"/>
                    <a:pt x="308632" y="307720"/>
                  </a:cubicBezTo>
                  <a:cubicBezTo>
                    <a:pt x="323744" y="292607"/>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4" y="226816"/>
                  </a:cubicBezTo>
                  <a:lnTo>
                    <a:pt x="342374" y="171057"/>
                  </a:lnTo>
                  <a:lnTo>
                    <a:pt x="286224" y="114906"/>
                  </a:lnTo>
                  <a:cubicBezTo>
                    <a:pt x="283879" y="112561"/>
                    <a:pt x="283097" y="109044"/>
                    <a:pt x="283879" y="105657"/>
                  </a:cubicBezTo>
                  <a:cubicBezTo>
                    <a:pt x="284530" y="102269"/>
                    <a:pt x="287266" y="99533"/>
                    <a:pt x="290783" y="98752"/>
                  </a:cubicBezTo>
                  <a:cubicBezTo>
                    <a:pt x="297297" y="97058"/>
                    <a:pt x="303421" y="93671"/>
                    <a:pt x="308241" y="88850"/>
                  </a:cubicBezTo>
                  <a:cubicBezTo>
                    <a:pt x="323353" y="73738"/>
                    <a:pt x="322963" y="48724"/>
                    <a:pt x="307850" y="33742"/>
                  </a:cubicBezTo>
                  <a:cubicBezTo>
                    <a:pt x="292738" y="18630"/>
                    <a:pt x="268115" y="18630"/>
                    <a:pt x="253003" y="33742"/>
                  </a:cubicBezTo>
                  <a:cubicBezTo>
                    <a:pt x="248182" y="38563"/>
                    <a:pt x="244795" y="44686"/>
                    <a:pt x="243101" y="51200"/>
                  </a:cubicBezTo>
                  <a:cubicBezTo>
                    <a:pt x="242450" y="54587"/>
                    <a:pt x="239714" y="57323"/>
                    <a:pt x="236196" y="58104"/>
                  </a:cubicBezTo>
                  <a:cubicBezTo>
                    <a:pt x="233070" y="59147"/>
                    <a:pt x="229292" y="58104"/>
                    <a:pt x="226947" y="55760"/>
                  </a:cubicBezTo>
                  <a:lnTo>
                    <a:pt x="171187" y="0"/>
                  </a:lnTo>
                  <a:lnTo>
                    <a:pt x="114646" y="56541"/>
                  </a:lnTo>
                  <a:cubicBezTo>
                    <a:pt x="112301" y="58886"/>
                    <a:pt x="108783" y="59668"/>
                    <a:pt x="105396" y="58886"/>
                  </a:cubicBezTo>
                  <a:cubicBezTo>
                    <a:pt x="102009" y="58104"/>
                    <a:pt x="99273" y="55499"/>
                    <a:pt x="98491" y="51981"/>
                  </a:cubicBezTo>
                  <a:cubicBezTo>
                    <a:pt x="96798" y="45467"/>
                    <a:pt x="93410" y="39344"/>
                    <a:pt x="88590" y="34524"/>
                  </a:cubicBezTo>
                  <a:cubicBezTo>
                    <a:pt x="73478" y="19412"/>
                    <a:pt x="48855" y="19412"/>
                    <a:pt x="33743" y="34524"/>
                  </a:cubicBezTo>
                  <a:cubicBezTo>
                    <a:pt x="18630" y="49636"/>
                    <a:pt x="18630" y="74259"/>
                    <a:pt x="33743" y="89372"/>
                  </a:cubicBezTo>
                  <a:cubicBezTo>
                    <a:pt x="38563" y="94192"/>
                    <a:pt x="44686" y="97579"/>
                    <a:pt x="51200" y="99273"/>
                  </a:cubicBezTo>
                  <a:cubicBezTo>
                    <a:pt x="54587" y="99924"/>
                    <a:pt x="57323" y="102660"/>
                    <a:pt x="58105" y="106178"/>
                  </a:cubicBezTo>
                  <a:cubicBezTo>
                    <a:pt x="59147" y="109304"/>
                    <a:pt x="58105" y="113082"/>
                    <a:pt x="55759" y="115428"/>
                  </a:cubicBezTo>
                  <a:lnTo>
                    <a:pt x="0" y="171187"/>
                  </a:lnTo>
                  <a:lnTo>
                    <a:pt x="55759" y="226947"/>
                  </a:lnTo>
                  <a:close/>
                </a:path>
              </a:pathLst>
            </a:custGeom>
            <a:noFill/>
            <a:ln w="12700" cap="flat">
              <a:solidFill>
                <a:schemeClr val="bg1"/>
              </a:solidFill>
              <a:prstDash val="solid"/>
              <a:miter/>
            </a:ln>
          </p:spPr>
          <p:txBody>
            <a:bodyPr rtlCol="0" anchor="ctr"/>
            <a:lstStyle/>
            <a:p>
              <a:endParaRPr lang="en-GB" sz="1600" dirty="0"/>
            </a:p>
          </p:txBody>
        </p:sp>
        <p:grpSp>
          <p:nvGrpSpPr>
            <p:cNvPr id="81" name="Group 80">
              <a:extLst>
                <a:ext uri="{FF2B5EF4-FFF2-40B4-BE49-F238E27FC236}">
                  <a16:creationId xmlns:a16="http://schemas.microsoft.com/office/drawing/2014/main" id="{B0E8E2C1-A8B3-4B12-BF6D-EABDC25F2B9E}"/>
                </a:ext>
              </a:extLst>
            </p:cNvPr>
            <p:cNvGrpSpPr/>
            <p:nvPr/>
          </p:nvGrpSpPr>
          <p:grpSpPr>
            <a:xfrm>
              <a:off x="8647438" y="5753505"/>
              <a:ext cx="681361" cy="338726"/>
              <a:chOff x="8647438" y="5753505"/>
              <a:chExt cx="681361" cy="338726"/>
            </a:xfrm>
          </p:grpSpPr>
          <p:sp>
            <p:nvSpPr>
              <p:cNvPr id="82" name="Freeform: Shape 527">
                <a:extLst>
                  <a:ext uri="{FF2B5EF4-FFF2-40B4-BE49-F238E27FC236}">
                    <a16:creationId xmlns:a16="http://schemas.microsoft.com/office/drawing/2014/main" id="{F7370911-1631-4107-8A75-E579F8AC1912}"/>
                  </a:ext>
                </a:extLst>
              </p:cNvPr>
              <p:cNvSpPr/>
              <p:nvPr/>
            </p:nvSpPr>
            <p:spPr>
              <a:xfrm>
                <a:off x="8647438" y="5753505"/>
                <a:ext cx="338726" cy="338726"/>
              </a:xfrm>
              <a:custGeom>
                <a:avLst/>
                <a:gdLst>
                  <a:gd name="connsiteX0" fmla="*/ 55760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4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5 w 338726"/>
                  <a:gd name="connsiteY18" fmla="*/ 226816 h 338726"/>
                  <a:gd name="connsiteX19" fmla="*/ 342374 w 338726"/>
                  <a:gd name="connsiteY19" fmla="*/ 171057 h 338726"/>
                  <a:gd name="connsiteX20" fmla="*/ 286224 w 338726"/>
                  <a:gd name="connsiteY20" fmla="*/ 114907 h 338726"/>
                  <a:gd name="connsiteX21" fmla="*/ 283879 w 338726"/>
                  <a:gd name="connsiteY21" fmla="*/ 105657 h 338726"/>
                  <a:gd name="connsiteX22" fmla="*/ 290783 w 338726"/>
                  <a:gd name="connsiteY22" fmla="*/ 98752 h 338726"/>
                  <a:gd name="connsiteX23" fmla="*/ 308241 w 338726"/>
                  <a:gd name="connsiteY23" fmla="*/ 88851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5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2 h 338726"/>
                  <a:gd name="connsiteX33" fmla="*/ 88590 w 338726"/>
                  <a:gd name="connsiteY33" fmla="*/ 34524 h 338726"/>
                  <a:gd name="connsiteX34" fmla="*/ 33742 w 338726"/>
                  <a:gd name="connsiteY34" fmla="*/ 34524 h 338726"/>
                  <a:gd name="connsiteX35" fmla="*/ 33742 w 338726"/>
                  <a:gd name="connsiteY35" fmla="*/ 89372 h 338726"/>
                  <a:gd name="connsiteX36" fmla="*/ 51200 w 338726"/>
                  <a:gd name="connsiteY36" fmla="*/ 99273 h 338726"/>
                  <a:gd name="connsiteX37" fmla="*/ 58105 w 338726"/>
                  <a:gd name="connsiteY37" fmla="*/ 106178 h 338726"/>
                  <a:gd name="connsiteX38" fmla="*/ 55760 w 338726"/>
                  <a:gd name="connsiteY38" fmla="*/ 115428 h 338726"/>
                  <a:gd name="connsiteX39" fmla="*/ 0 w 338726"/>
                  <a:gd name="connsiteY39" fmla="*/ 171187 h 338726"/>
                  <a:gd name="connsiteX40" fmla="*/ 55760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60" y="226947"/>
                    </a:moveTo>
                    <a:cubicBezTo>
                      <a:pt x="58105" y="229292"/>
                      <a:pt x="61883" y="230334"/>
                      <a:pt x="65009" y="229292"/>
                    </a:cubicBezTo>
                    <a:cubicBezTo>
                      <a:pt x="68397" y="228640"/>
                      <a:pt x="71133" y="225904"/>
                      <a:pt x="71914" y="222387"/>
                    </a:cubicBezTo>
                    <a:cubicBezTo>
                      <a:pt x="73608" y="215873"/>
                      <a:pt x="76995" y="209750"/>
                      <a:pt x="81815" y="204929"/>
                    </a:cubicBezTo>
                    <a:cubicBezTo>
                      <a:pt x="96928" y="189817"/>
                      <a:pt x="121551" y="189817"/>
                      <a:pt x="136663" y="204929"/>
                    </a:cubicBezTo>
                    <a:cubicBezTo>
                      <a:pt x="151775" y="220042"/>
                      <a:pt x="152036" y="245056"/>
                      <a:pt x="137054" y="260038"/>
                    </a:cubicBezTo>
                    <a:cubicBezTo>
                      <a:pt x="132233" y="264858"/>
                      <a:pt x="126111" y="268245"/>
                      <a:pt x="119597" y="269939"/>
                    </a:cubicBezTo>
                    <a:cubicBezTo>
                      <a:pt x="116209" y="270590"/>
                      <a:pt x="113473" y="273326"/>
                      <a:pt x="112692" y="276844"/>
                    </a:cubicBezTo>
                    <a:cubicBezTo>
                      <a:pt x="112040" y="280231"/>
                      <a:pt x="112692" y="283749"/>
                      <a:pt x="115037" y="286094"/>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20" y="322832"/>
                      <a:pt x="308632" y="307720"/>
                    </a:cubicBezTo>
                    <a:cubicBezTo>
                      <a:pt x="323744" y="292608"/>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5" y="226816"/>
                    </a:cubicBezTo>
                    <a:lnTo>
                      <a:pt x="342374" y="171057"/>
                    </a:lnTo>
                    <a:lnTo>
                      <a:pt x="286224" y="114907"/>
                    </a:lnTo>
                    <a:cubicBezTo>
                      <a:pt x="283879" y="112561"/>
                      <a:pt x="283097" y="109044"/>
                      <a:pt x="283879" y="105657"/>
                    </a:cubicBezTo>
                    <a:cubicBezTo>
                      <a:pt x="284530" y="102269"/>
                      <a:pt x="287266" y="99533"/>
                      <a:pt x="290783" y="98752"/>
                    </a:cubicBezTo>
                    <a:cubicBezTo>
                      <a:pt x="297297" y="97058"/>
                      <a:pt x="303421" y="93671"/>
                      <a:pt x="308241" y="88851"/>
                    </a:cubicBezTo>
                    <a:cubicBezTo>
                      <a:pt x="323353" y="73738"/>
                      <a:pt x="322963" y="48725"/>
                      <a:pt x="307850" y="33742"/>
                    </a:cubicBezTo>
                    <a:cubicBezTo>
                      <a:pt x="292738" y="18630"/>
                      <a:pt x="268115" y="18630"/>
                      <a:pt x="253003" y="33742"/>
                    </a:cubicBezTo>
                    <a:cubicBezTo>
                      <a:pt x="248182" y="38563"/>
                      <a:pt x="244795" y="44686"/>
                      <a:pt x="243101" y="51200"/>
                    </a:cubicBezTo>
                    <a:cubicBezTo>
                      <a:pt x="242450" y="54587"/>
                      <a:pt x="239714" y="57323"/>
                      <a:pt x="236196" y="58105"/>
                    </a:cubicBezTo>
                    <a:cubicBezTo>
                      <a:pt x="233070" y="59147"/>
                      <a:pt x="229292" y="58105"/>
                      <a:pt x="226947" y="55760"/>
                    </a:cubicBezTo>
                    <a:lnTo>
                      <a:pt x="171187" y="0"/>
                    </a:lnTo>
                    <a:lnTo>
                      <a:pt x="114646" y="56541"/>
                    </a:lnTo>
                    <a:cubicBezTo>
                      <a:pt x="112301" y="58886"/>
                      <a:pt x="108783" y="59668"/>
                      <a:pt x="105396" y="58886"/>
                    </a:cubicBezTo>
                    <a:cubicBezTo>
                      <a:pt x="102009" y="58235"/>
                      <a:pt x="99273" y="55499"/>
                      <a:pt x="98491" y="51982"/>
                    </a:cubicBezTo>
                    <a:cubicBezTo>
                      <a:pt x="96798" y="45468"/>
                      <a:pt x="93410" y="39344"/>
                      <a:pt x="88590" y="34524"/>
                    </a:cubicBezTo>
                    <a:cubicBezTo>
                      <a:pt x="73478" y="19412"/>
                      <a:pt x="48855" y="19412"/>
                      <a:pt x="33742" y="34524"/>
                    </a:cubicBezTo>
                    <a:cubicBezTo>
                      <a:pt x="18630" y="49636"/>
                      <a:pt x="18630" y="74259"/>
                      <a:pt x="33742" y="89372"/>
                    </a:cubicBezTo>
                    <a:cubicBezTo>
                      <a:pt x="38563" y="94192"/>
                      <a:pt x="44686" y="97579"/>
                      <a:pt x="51200" y="99273"/>
                    </a:cubicBezTo>
                    <a:cubicBezTo>
                      <a:pt x="54587" y="99924"/>
                      <a:pt x="57323" y="102660"/>
                      <a:pt x="58105" y="106178"/>
                    </a:cubicBezTo>
                    <a:cubicBezTo>
                      <a:pt x="59147" y="109304"/>
                      <a:pt x="58105" y="113083"/>
                      <a:pt x="55760" y="115428"/>
                    </a:cubicBezTo>
                    <a:lnTo>
                      <a:pt x="0" y="171187"/>
                    </a:lnTo>
                    <a:lnTo>
                      <a:pt x="55760" y="226947"/>
                    </a:lnTo>
                    <a:close/>
                  </a:path>
                </a:pathLst>
              </a:custGeom>
              <a:noFill/>
              <a:ln w="12700" cap="flat">
                <a:solidFill>
                  <a:schemeClr val="bg1"/>
                </a:solidFill>
                <a:prstDash val="solid"/>
                <a:miter/>
              </a:ln>
            </p:spPr>
            <p:txBody>
              <a:bodyPr rtlCol="0" anchor="ctr"/>
              <a:lstStyle/>
              <a:p>
                <a:endParaRPr lang="en-GB" sz="1600" dirty="0"/>
              </a:p>
            </p:txBody>
          </p:sp>
          <p:sp>
            <p:nvSpPr>
              <p:cNvPr id="83" name="Freeform: Shape 528">
                <a:extLst>
                  <a:ext uri="{FF2B5EF4-FFF2-40B4-BE49-F238E27FC236}">
                    <a16:creationId xmlns:a16="http://schemas.microsoft.com/office/drawing/2014/main" id="{462AC366-F4EA-4BFC-8AC2-2F954C00B58A}"/>
                  </a:ext>
                </a:extLst>
              </p:cNvPr>
              <p:cNvSpPr/>
              <p:nvPr/>
            </p:nvSpPr>
            <p:spPr>
              <a:xfrm>
                <a:off x="8990073" y="5753505"/>
                <a:ext cx="338726" cy="338726"/>
              </a:xfrm>
              <a:custGeom>
                <a:avLst/>
                <a:gdLst>
                  <a:gd name="connsiteX0" fmla="*/ 115297 w 338726"/>
                  <a:gd name="connsiteY0" fmla="*/ 55760 h 338726"/>
                  <a:gd name="connsiteX1" fmla="*/ 112952 w 338726"/>
                  <a:gd name="connsiteY1" fmla="*/ 65009 h 338726"/>
                  <a:gd name="connsiteX2" fmla="*/ 119857 w 338726"/>
                  <a:gd name="connsiteY2" fmla="*/ 71914 h 338726"/>
                  <a:gd name="connsiteX3" fmla="*/ 137315 w 338726"/>
                  <a:gd name="connsiteY3" fmla="*/ 81815 h 338726"/>
                  <a:gd name="connsiteX4" fmla="*/ 137315 w 338726"/>
                  <a:gd name="connsiteY4" fmla="*/ 136663 h 338726"/>
                  <a:gd name="connsiteX5" fmla="*/ 82206 w 338726"/>
                  <a:gd name="connsiteY5" fmla="*/ 137054 h 338726"/>
                  <a:gd name="connsiteX6" fmla="*/ 72305 w 338726"/>
                  <a:gd name="connsiteY6" fmla="*/ 119597 h 338726"/>
                  <a:gd name="connsiteX7" fmla="*/ 65400 w 338726"/>
                  <a:gd name="connsiteY7" fmla="*/ 112692 h 338726"/>
                  <a:gd name="connsiteX8" fmla="*/ 56150 w 338726"/>
                  <a:gd name="connsiteY8" fmla="*/ 115037 h 338726"/>
                  <a:gd name="connsiteX9" fmla="*/ 0 w 338726"/>
                  <a:gd name="connsiteY9" fmla="*/ 171187 h 338726"/>
                  <a:gd name="connsiteX10" fmla="*/ 56541 w 338726"/>
                  <a:gd name="connsiteY10" fmla="*/ 227728 h 338726"/>
                  <a:gd name="connsiteX11" fmla="*/ 58886 w 338726"/>
                  <a:gd name="connsiteY11" fmla="*/ 236978 h 338726"/>
                  <a:gd name="connsiteX12" fmla="*/ 51981 w 338726"/>
                  <a:gd name="connsiteY12" fmla="*/ 243883 h 338726"/>
                  <a:gd name="connsiteX13" fmla="*/ 34524 w 338726"/>
                  <a:gd name="connsiteY13" fmla="*/ 253784 h 338726"/>
                  <a:gd name="connsiteX14" fmla="*/ 34524 w 338726"/>
                  <a:gd name="connsiteY14" fmla="*/ 308632 h 338726"/>
                  <a:gd name="connsiteX15" fmla="*/ 89371 w 338726"/>
                  <a:gd name="connsiteY15" fmla="*/ 308632 h 338726"/>
                  <a:gd name="connsiteX16" fmla="*/ 99273 w 338726"/>
                  <a:gd name="connsiteY16" fmla="*/ 291175 h 338726"/>
                  <a:gd name="connsiteX17" fmla="*/ 106178 w 338726"/>
                  <a:gd name="connsiteY17" fmla="*/ 284270 h 338726"/>
                  <a:gd name="connsiteX18" fmla="*/ 115427 w 338726"/>
                  <a:gd name="connsiteY18" fmla="*/ 286615 h 338726"/>
                  <a:gd name="connsiteX19" fmla="*/ 171187 w 338726"/>
                  <a:gd name="connsiteY19" fmla="*/ 342374 h 338726"/>
                  <a:gd name="connsiteX20" fmla="*/ 227338 w 338726"/>
                  <a:gd name="connsiteY20" fmla="*/ 286224 h 338726"/>
                  <a:gd name="connsiteX21" fmla="*/ 236587 w 338726"/>
                  <a:gd name="connsiteY21" fmla="*/ 283879 h 338726"/>
                  <a:gd name="connsiteX22" fmla="*/ 243492 w 338726"/>
                  <a:gd name="connsiteY22" fmla="*/ 290784 h 338726"/>
                  <a:gd name="connsiteX23" fmla="*/ 253394 w 338726"/>
                  <a:gd name="connsiteY23" fmla="*/ 308241 h 338726"/>
                  <a:gd name="connsiteX24" fmla="*/ 308501 w 338726"/>
                  <a:gd name="connsiteY24" fmla="*/ 307850 h 338726"/>
                  <a:gd name="connsiteX25" fmla="*/ 308501 w 338726"/>
                  <a:gd name="connsiteY25" fmla="*/ 253003 h 338726"/>
                  <a:gd name="connsiteX26" fmla="*/ 291044 w 338726"/>
                  <a:gd name="connsiteY26" fmla="*/ 243101 h 338726"/>
                  <a:gd name="connsiteX27" fmla="*/ 284139 w 338726"/>
                  <a:gd name="connsiteY27" fmla="*/ 236197 h 338726"/>
                  <a:gd name="connsiteX28" fmla="*/ 286484 w 338726"/>
                  <a:gd name="connsiteY28" fmla="*/ 226947 h 338726"/>
                  <a:gd name="connsiteX29" fmla="*/ 342244 w 338726"/>
                  <a:gd name="connsiteY29" fmla="*/ 171187 h 338726"/>
                  <a:gd name="connsiteX30" fmla="*/ 285703 w 338726"/>
                  <a:gd name="connsiteY30" fmla="*/ 114646 h 338726"/>
                  <a:gd name="connsiteX31" fmla="*/ 283358 w 338726"/>
                  <a:gd name="connsiteY31" fmla="*/ 105396 h 338726"/>
                  <a:gd name="connsiteX32" fmla="*/ 290262 w 338726"/>
                  <a:gd name="connsiteY32" fmla="*/ 98491 h 338726"/>
                  <a:gd name="connsiteX33" fmla="*/ 307720 w 338726"/>
                  <a:gd name="connsiteY33" fmla="*/ 88590 h 338726"/>
                  <a:gd name="connsiteX34" fmla="*/ 307720 w 338726"/>
                  <a:gd name="connsiteY34" fmla="*/ 33742 h 338726"/>
                  <a:gd name="connsiteX35" fmla="*/ 252872 w 338726"/>
                  <a:gd name="connsiteY35" fmla="*/ 33742 h 338726"/>
                  <a:gd name="connsiteX36" fmla="*/ 242971 w 338726"/>
                  <a:gd name="connsiteY36" fmla="*/ 51200 h 338726"/>
                  <a:gd name="connsiteX37" fmla="*/ 236066 w 338726"/>
                  <a:gd name="connsiteY37" fmla="*/ 58105 h 338726"/>
                  <a:gd name="connsiteX38" fmla="*/ 226816 w 338726"/>
                  <a:gd name="connsiteY38" fmla="*/ 55760 h 338726"/>
                  <a:gd name="connsiteX39" fmla="*/ 171057 w 338726"/>
                  <a:gd name="connsiteY39" fmla="*/ 0 h 338726"/>
                  <a:gd name="connsiteX40" fmla="*/ 115297 w 338726"/>
                  <a:gd name="connsiteY40" fmla="*/ 55760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115297" y="55760"/>
                    </a:moveTo>
                    <a:cubicBezTo>
                      <a:pt x="112952" y="58105"/>
                      <a:pt x="111910" y="61883"/>
                      <a:pt x="112952" y="65009"/>
                    </a:cubicBezTo>
                    <a:cubicBezTo>
                      <a:pt x="113604" y="68397"/>
                      <a:pt x="116339" y="71133"/>
                      <a:pt x="119857" y="71914"/>
                    </a:cubicBezTo>
                    <a:cubicBezTo>
                      <a:pt x="126371" y="73608"/>
                      <a:pt x="132494" y="76995"/>
                      <a:pt x="137315" y="81815"/>
                    </a:cubicBezTo>
                    <a:cubicBezTo>
                      <a:pt x="152427" y="96928"/>
                      <a:pt x="152427" y="121551"/>
                      <a:pt x="137315" y="136663"/>
                    </a:cubicBezTo>
                    <a:cubicBezTo>
                      <a:pt x="122202" y="151775"/>
                      <a:pt x="97188" y="152036"/>
                      <a:pt x="82206" y="137054"/>
                    </a:cubicBezTo>
                    <a:cubicBezTo>
                      <a:pt x="77386" y="132234"/>
                      <a:pt x="73999" y="126111"/>
                      <a:pt x="72305" y="119597"/>
                    </a:cubicBezTo>
                    <a:cubicBezTo>
                      <a:pt x="71654" y="116209"/>
                      <a:pt x="68918" y="113473"/>
                      <a:pt x="65400" y="112692"/>
                    </a:cubicBezTo>
                    <a:cubicBezTo>
                      <a:pt x="62013" y="112040"/>
                      <a:pt x="58495" y="112692"/>
                      <a:pt x="56150" y="115037"/>
                    </a:cubicBezTo>
                    <a:lnTo>
                      <a:pt x="0" y="171187"/>
                    </a:lnTo>
                    <a:lnTo>
                      <a:pt x="56541" y="227728"/>
                    </a:lnTo>
                    <a:cubicBezTo>
                      <a:pt x="58886" y="230073"/>
                      <a:pt x="59668" y="233591"/>
                      <a:pt x="58886" y="236978"/>
                    </a:cubicBezTo>
                    <a:cubicBezTo>
                      <a:pt x="58235" y="240365"/>
                      <a:pt x="55499" y="243101"/>
                      <a:pt x="51981" y="243883"/>
                    </a:cubicBezTo>
                    <a:cubicBezTo>
                      <a:pt x="45467" y="245577"/>
                      <a:pt x="39344" y="248964"/>
                      <a:pt x="34524" y="253784"/>
                    </a:cubicBezTo>
                    <a:cubicBezTo>
                      <a:pt x="19412" y="268897"/>
                      <a:pt x="19412" y="293519"/>
                      <a:pt x="34524" y="308632"/>
                    </a:cubicBezTo>
                    <a:cubicBezTo>
                      <a:pt x="49636" y="323744"/>
                      <a:pt x="74259" y="323744"/>
                      <a:pt x="89371" y="308632"/>
                    </a:cubicBezTo>
                    <a:cubicBezTo>
                      <a:pt x="94192" y="303812"/>
                      <a:pt x="97579" y="297688"/>
                      <a:pt x="99273" y="291175"/>
                    </a:cubicBezTo>
                    <a:cubicBezTo>
                      <a:pt x="99924" y="287787"/>
                      <a:pt x="102660" y="285051"/>
                      <a:pt x="106178" y="284270"/>
                    </a:cubicBezTo>
                    <a:cubicBezTo>
                      <a:pt x="109304" y="283227"/>
                      <a:pt x="113082" y="284270"/>
                      <a:pt x="115427" y="286615"/>
                    </a:cubicBezTo>
                    <a:lnTo>
                      <a:pt x="171187" y="342374"/>
                    </a:lnTo>
                    <a:lnTo>
                      <a:pt x="227338" y="286224"/>
                    </a:lnTo>
                    <a:cubicBezTo>
                      <a:pt x="229683" y="283879"/>
                      <a:pt x="233200" y="283097"/>
                      <a:pt x="236587" y="283879"/>
                    </a:cubicBezTo>
                    <a:cubicBezTo>
                      <a:pt x="239974" y="284530"/>
                      <a:pt x="242711" y="287266"/>
                      <a:pt x="243492" y="290784"/>
                    </a:cubicBezTo>
                    <a:cubicBezTo>
                      <a:pt x="245186" y="297298"/>
                      <a:pt x="248573" y="303421"/>
                      <a:pt x="253394" y="308241"/>
                    </a:cubicBezTo>
                    <a:cubicBezTo>
                      <a:pt x="268506" y="323354"/>
                      <a:pt x="293519" y="322963"/>
                      <a:pt x="308501" y="307850"/>
                    </a:cubicBezTo>
                    <a:cubicBezTo>
                      <a:pt x="323614" y="292738"/>
                      <a:pt x="323614" y="268115"/>
                      <a:pt x="308501" y="253003"/>
                    </a:cubicBezTo>
                    <a:cubicBezTo>
                      <a:pt x="303681" y="248182"/>
                      <a:pt x="297558" y="244795"/>
                      <a:pt x="291044" y="243101"/>
                    </a:cubicBezTo>
                    <a:cubicBezTo>
                      <a:pt x="287657" y="242450"/>
                      <a:pt x="284921" y="239714"/>
                      <a:pt x="284139" y="236197"/>
                    </a:cubicBezTo>
                    <a:cubicBezTo>
                      <a:pt x="283097" y="233070"/>
                      <a:pt x="284139" y="229292"/>
                      <a:pt x="286484" y="226947"/>
                    </a:cubicBezTo>
                    <a:lnTo>
                      <a:pt x="342244" y="171187"/>
                    </a:lnTo>
                    <a:lnTo>
                      <a:pt x="285703" y="114646"/>
                    </a:lnTo>
                    <a:cubicBezTo>
                      <a:pt x="283358" y="112301"/>
                      <a:pt x="282576" y="108783"/>
                      <a:pt x="283358" y="105396"/>
                    </a:cubicBezTo>
                    <a:cubicBezTo>
                      <a:pt x="284009" y="102009"/>
                      <a:pt x="286745" y="99273"/>
                      <a:pt x="290262" y="98491"/>
                    </a:cubicBezTo>
                    <a:cubicBezTo>
                      <a:pt x="296776" y="96798"/>
                      <a:pt x="302900" y="93410"/>
                      <a:pt x="307720" y="88590"/>
                    </a:cubicBezTo>
                    <a:cubicBezTo>
                      <a:pt x="322832" y="73478"/>
                      <a:pt x="322832" y="48855"/>
                      <a:pt x="307720" y="33742"/>
                    </a:cubicBezTo>
                    <a:cubicBezTo>
                      <a:pt x="292607" y="18630"/>
                      <a:pt x="267985" y="18630"/>
                      <a:pt x="252872" y="33742"/>
                    </a:cubicBezTo>
                    <a:cubicBezTo>
                      <a:pt x="248052" y="38563"/>
                      <a:pt x="244665" y="44686"/>
                      <a:pt x="242971" y="51200"/>
                    </a:cubicBezTo>
                    <a:cubicBezTo>
                      <a:pt x="242320" y="54587"/>
                      <a:pt x="239584" y="57323"/>
                      <a:pt x="236066" y="58105"/>
                    </a:cubicBezTo>
                    <a:cubicBezTo>
                      <a:pt x="232940" y="59147"/>
                      <a:pt x="229161" y="58105"/>
                      <a:pt x="226816" y="55760"/>
                    </a:cubicBezTo>
                    <a:lnTo>
                      <a:pt x="171057" y="0"/>
                    </a:lnTo>
                    <a:lnTo>
                      <a:pt x="115297" y="55760"/>
                    </a:lnTo>
                    <a:close/>
                  </a:path>
                </a:pathLst>
              </a:custGeom>
              <a:noFill/>
              <a:ln w="12700" cap="flat">
                <a:solidFill>
                  <a:schemeClr val="bg1"/>
                </a:solidFill>
                <a:prstDash val="solid"/>
                <a:miter/>
              </a:ln>
            </p:spPr>
            <p:txBody>
              <a:bodyPr rtlCol="0" anchor="ctr"/>
              <a:lstStyle/>
              <a:p>
                <a:endParaRPr lang="en-GB" sz="1600" dirty="0"/>
              </a:p>
            </p:txBody>
          </p:sp>
        </p:grpSp>
      </p:grpSp>
      <p:grpSp>
        <p:nvGrpSpPr>
          <p:cNvPr id="90" name="Group 89">
            <a:extLst>
              <a:ext uri="{FF2B5EF4-FFF2-40B4-BE49-F238E27FC236}">
                <a16:creationId xmlns:a16="http://schemas.microsoft.com/office/drawing/2014/main" id="{2C68720C-05C5-43C4-8892-0A3053003D80}"/>
              </a:ext>
              <a:ext uri="{C183D7F6-B498-43B3-948B-1728B52AA6E4}">
                <adec:decorative xmlns:adec="http://schemas.microsoft.com/office/drawing/2017/decorative" val="1"/>
              </a:ext>
            </a:extLst>
          </p:cNvPr>
          <p:cNvGrpSpPr/>
          <p:nvPr userDrawn="1"/>
        </p:nvGrpSpPr>
        <p:grpSpPr>
          <a:xfrm>
            <a:off x="4193487" y="5504688"/>
            <a:ext cx="444337" cy="436705"/>
            <a:chOff x="4105453" y="1314571"/>
            <a:chExt cx="578417" cy="568482"/>
          </a:xfrm>
          <a:noFill/>
        </p:grpSpPr>
        <p:sp>
          <p:nvSpPr>
            <p:cNvPr id="91" name="Freeform: Shape 66">
              <a:extLst>
                <a:ext uri="{FF2B5EF4-FFF2-40B4-BE49-F238E27FC236}">
                  <a16:creationId xmlns:a16="http://schemas.microsoft.com/office/drawing/2014/main" id="{D325AD86-7C6E-4A7A-8468-8DF0485099C4}"/>
                </a:ext>
              </a:extLst>
            </p:cNvPr>
            <p:cNvSpPr/>
            <p:nvPr/>
          </p:nvSpPr>
          <p:spPr>
            <a:xfrm>
              <a:off x="4178980" y="1396313"/>
              <a:ext cx="172227" cy="13248"/>
            </a:xfrm>
            <a:custGeom>
              <a:avLst/>
              <a:gdLst>
                <a:gd name="connsiteX0" fmla="*/ 0 w 172227"/>
                <a:gd name="connsiteY0" fmla="*/ 0 h 0"/>
                <a:gd name="connsiteX1" fmla="*/ 180573 w 172227"/>
                <a:gd name="connsiteY1" fmla="*/ 0 h 0"/>
              </a:gdLst>
              <a:ahLst/>
              <a:cxnLst>
                <a:cxn ang="0">
                  <a:pos x="connsiteX0" y="connsiteY0"/>
                </a:cxn>
                <a:cxn ang="0">
                  <a:pos x="connsiteX1" y="connsiteY1"/>
                </a:cxn>
              </a:cxnLst>
              <a:rect l="l" t="t" r="r" b="b"/>
              <a:pathLst>
                <a:path w="172227">
                  <a:moveTo>
                    <a:pt x="0" y="0"/>
                  </a:moveTo>
                  <a:lnTo>
                    <a:pt x="180573" y="0"/>
                  </a:lnTo>
                </a:path>
              </a:pathLst>
            </a:custGeom>
            <a:grpFill/>
            <a:ln w="12700" cap="rnd">
              <a:solidFill>
                <a:schemeClr val="bg1"/>
              </a:solidFill>
              <a:prstDash val="solid"/>
              <a:round/>
            </a:ln>
          </p:spPr>
          <p:txBody>
            <a:bodyPr rtlCol="0" anchor="ctr"/>
            <a:lstStyle/>
            <a:p>
              <a:endParaRPr lang="en-GB" sz="1600" dirty="0"/>
            </a:p>
          </p:txBody>
        </p:sp>
        <p:sp>
          <p:nvSpPr>
            <p:cNvPr id="92" name="Freeform: Shape 67">
              <a:extLst>
                <a:ext uri="{FF2B5EF4-FFF2-40B4-BE49-F238E27FC236}">
                  <a16:creationId xmlns:a16="http://schemas.microsoft.com/office/drawing/2014/main" id="{E4CA42B9-284D-4D05-8A49-DD901D7EB214}"/>
                </a:ext>
              </a:extLst>
            </p:cNvPr>
            <p:cNvSpPr/>
            <p:nvPr/>
          </p:nvSpPr>
          <p:spPr>
            <a:xfrm>
              <a:off x="4178980" y="1469973"/>
              <a:ext cx="172227" cy="13248"/>
            </a:xfrm>
            <a:custGeom>
              <a:avLst/>
              <a:gdLst>
                <a:gd name="connsiteX0" fmla="*/ 0 w 172227"/>
                <a:gd name="connsiteY0" fmla="*/ 0 h 0"/>
                <a:gd name="connsiteX1" fmla="*/ 180706 w 172227"/>
                <a:gd name="connsiteY1" fmla="*/ 0 h 0"/>
              </a:gdLst>
              <a:ahLst/>
              <a:cxnLst>
                <a:cxn ang="0">
                  <a:pos x="connsiteX0" y="connsiteY0"/>
                </a:cxn>
                <a:cxn ang="0">
                  <a:pos x="connsiteX1" y="connsiteY1"/>
                </a:cxn>
              </a:cxnLst>
              <a:rect l="l" t="t" r="r" b="b"/>
              <a:pathLst>
                <a:path w="172227">
                  <a:moveTo>
                    <a:pt x="0" y="0"/>
                  </a:moveTo>
                  <a:lnTo>
                    <a:pt x="180706" y="0"/>
                  </a:lnTo>
                </a:path>
              </a:pathLst>
            </a:custGeom>
            <a:grpFill/>
            <a:ln w="12700" cap="rnd">
              <a:solidFill>
                <a:schemeClr val="bg1"/>
              </a:solidFill>
              <a:prstDash val="solid"/>
              <a:round/>
            </a:ln>
          </p:spPr>
          <p:txBody>
            <a:bodyPr rtlCol="0" anchor="ctr"/>
            <a:lstStyle/>
            <a:p>
              <a:endParaRPr lang="en-GB" sz="1600" dirty="0"/>
            </a:p>
          </p:txBody>
        </p:sp>
        <p:sp>
          <p:nvSpPr>
            <p:cNvPr id="93" name="Freeform: Shape 68">
              <a:extLst>
                <a:ext uri="{FF2B5EF4-FFF2-40B4-BE49-F238E27FC236}">
                  <a16:creationId xmlns:a16="http://schemas.microsoft.com/office/drawing/2014/main" id="{04A8A26B-D854-4BFD-BDC3-4748EF2BBD7F}"/>
                </a:ext>
              </a:extLst>
            </p:cNvPr>
            <p:cNvSpPr/>
            <p:nvPr/>
          </p:nvSpPr>
          <p:spPr>
            <a:xfrm>
              <a:off x="4105453" y="1314571"/>
              <a:ext cx="317958" cy="278213"/>
            </a:xfrm>
            <a:custGeom>
              <a:avLst/>
              <a:gdLst>
                <a:gd name="connsiteX0" fmla="*/ 0 w 317957"/>
                <a:gd name="connsiteY0" fmla="*/ 0 h 278213"/>
                <a:gd name="connsiteX1" fmla="*/ 0 w 317957"/>
                <a:gd name="connsiteY1" fmla="*/ 231049 h 278213"/>
                <a:gd name="connsiteX2" fmla="*/ 242708 w 317957"/>
                <a:gd name="connsiteY2" fmla="*/ 231049 h 278213"/>
                <a:gd name="connsiteX3" fmla="*/ 286162 w 317957"/>
                <a:gd name="connsiteY3" fmla="*/ 280730 h 278213"/>
                <a:gd name="connsiteX4" fmla="*/ 286162 w 317957"/>
                <a:gd name="connsiteY4" fmla="*/ 231049 h 278213"/>
                <a:gd name="connsiteX5" fmla="*/ 327629 w 317957"/>
                <a:gd name="connsiteY5" fmla="*/ 231049 h 278213"/>
                <a:gd name="connsiteX6" fmla="*/ 327629 w 317957"/>
                <a:gd name="connsiteY6" fmla="*/ 0 h 2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957" h="278213">
                  <a:moveTo>
                    <a:pt x="0" y="0"/>
                  </a:moveTo>
                  <a:lnTo>
                    <a:pt x="0" y="231049"/>
                  </a:lnTo>
                  <a:lnTo>
                    <a:pt x="242708" y="231049"/>
                  </a:lnTo>
                  <a:lnTo>
                    <a:pt x="286162" y="280730"/>
                  </a:lnTo>
                  <a:lnTo>
                    <a:pt x="286162" y="231049"/>
                  </a:lnTo>
                  <a:lnTo>
                    <a:pt x="327629" y="231049"/>
                  </a:lnTo>
                  <a:lnTo>
                    <a:pt x="327629" y="0"/>
                  </a:lnTo>
                  <a:close/>
                </a:path>
              </a:pathLst>
            </a:custGeom>
            <a:grpFill/>
            <a:ln w="12700" cap="rnd">
              <a:solidFill>
                <a:schemeClr val="bg1"/>
              </a:solidFill>
              <a:prstDash val="solid"/>
              <a:round/>
            </a:ln>
          </p:spPr>
          <p:txBody>
            <a:bodyPr rtlCol="0" anchor="ctr"/>
            <a:lstStyle/>
            <a:p>
              <a:endParaRPr lang="en-GB" sz="1600" dirty="0"/>
            </a:p>
          </p:txBody>
        </p:sp>
        <p:sp>
          <p:nvSpPr>
            <p:cNvPr id="94" name="Freeform: Shape 69">
              <a:extLst>
                <a:ext uri="{FF2B5EF4-FFF2-40B4-BE49-F238E27FC236}">
                  <a16:creationId xmlns:a16="http://schemas.microsoft.com/office/drawing/2014/main" id="{C64EF969-877D-4B7F-8182-A7B11DDDDBC8}"/>
                </a:ext>
              </a:extLst>
            </p:cNvPr>
            <p:cNvSpPr/>
            <p:nvPr/>
          </p:nvSpPr>
          <p:spPr>
            <a:xfrm>
              <a:off x="4326168" y="1657833"/>
              <a:ext cx="357702" cy="225220"/>
            </a:xfrm>
            <a:custGeom>
              <a:avLst/>
              <a:gdLst>
                <a:gd name="connsiteX0" fmla="*/ 0 w 357702"/>
                <a:gd name="connsiteY0" fmla="*/ 0 h 225220"/>
                <a:gd name="connsiteX1" fmla="*/ 359425 w 357702"/>
                <a:gd name="connsiteY1" fmla="*/ 0 h 225220"/>
                <a:gd name="connsiteX2" fmla="*/ 359425 w 357702"/>
                <a:gd name="connsiteY2" fmla="*/ 231712 h 225220"/>
                <a:gd name="connsiteX3" fmla="*/ 0 w 357702"/>
                <a:gd name="connsiteY3" fmla="*/ 231712 h 225220"/>
              </a:gdLst>
              <a:ahLst/>
              <a:cxnLst>
                <a:cxn ang="0">
                  <a:pos x="connsiteX0" y="connsiteY0"/>
                </a:cxn>
                <a:cxn ang="0">
                  <a:pos x="connsiteX1" y="connsiteY1"/>
                </a:cxn>
                <a:cxn ang="0">
                  <a:pos x="connsiteX2" y="connsiteY2"/>
                </a:cxn>
                <a:cxn ang="0">
                  <a:pos x="connsiteX3" y="connsiteY3"/>
                </a:cxn>
              </a:cxnLst>
              <a:rect l="l" t="t" r="r" b="b"/>
              <a:pathLst>
                <a:path w="357702" h="225220">
                  <a:moveTo>
                    <a:pt x="0" y="0"/>
                  </a:moveTo>
                  <a:lnTo>
                    <a:pt x="359425" y="0"/>
                  </a:lnTo>
                  <a:lnTo>
                    <a:pt x="359425" y="231712"/>
                  </a:lnTo>
                  <a:lnTo>
                    <a:pt x="0" y="231712"/>
                  </a:lnTo>
                  <a:close/>
                </a:path>
              </a:pathLst>
            </a:custGeom>
            <a:grpFill/>
            <a:ln w="12700" cap="rnd">
              <a:solidFill>
                <a:schemeClr val="bg1"/>
              </a:solidFill>
              <a:prstDash val="solid"/>
              <a:round/>
            </a:ln>
          </p:spPr>
          <p:txBody>
            <a:bodyPr rtlCol="0" anchor="ctr"/>
            <a:lstStyle/>
            <a:p>
              <a:endParaRPr lang="en-GB" sz="1600" dirty="0"/>
            </a:p>
          </p:txBody>
        </p:sp>
        <p:sp>
          <p:nvSpPr>
            <p:cNvPr id="95" name="Freeform: Shape 70">
              <a:extLst>
                <a:ext uri="{FF2B5EF4-FFF2-40B4-BE49-F238E27FC236}">
                  <a16:creationId xmlns:a16="http://schemas.microsoft.com/office/drawing/2014/main" id="{B5551980-9060-4CF5-9EDD-032F6FCC9FB5}"/>
                </a:ext>
              </a:extLst>
            </p:cNvPr>
            <p:cNvSpPr/>
            <p:nvPr/>
          </p:nvSpPr>
          <p:spPr>
            <a:xfrm>
              <a:off x="4394794" y="1804359"/>
              <a:ext cx="211972" cy="26496"/>
            </a:xfrm>
            <a:custGeom>
              <a:avLst/>
              <a:gdLst>
                <a:gd name="connsiteX0" fmla="*/ 0 w 211971"/>
                <a:gd name="connsiteY0" fmla="*/ 0 h 26496"/>
                <a:gd name="connsiteX1" fmla="*/ 222173 w 211971"/>
                <a:gd name="connsiteY1" fmla="*/ 0 h 26496"/>
                <a:gd name="connsiteX2" fmla="*/ 222173 w 211971"/>
                <a:gd name="connsiteY2" fmla="*/ 33121 h 26496"/>
                <a:gd name="connsiteX3" fmla="*/ 0 w 211971"/>
                <a:gd name="connsiteY3" fmla="*/ 33121 h 26496"/>
              </a:gdLst>
              <a:ahLst/>
              <a:cxnLst>
                <a:cxn ang="0">
                  <a:pos x="connsiteX0" y="connsiteY0"/>
                </a:cxn>
                <a:cxn ang="0">
                  <a:pos x="connsiteX1" y="connsiteY1"/>
                </a:cxn>
                <a:cxn ang="0">
                  <a:pos x="connsiteX2" y="connsiteY2"/>
                </a:cxn>
                <a:cxn ang="0">
                  <a:pos x="connsiteX3" y="connsiteY3"/>
                </a:cxn>
              </a:cxnLst>
              <a:rect l="l" t="t" r="r" b="b"/>
              <a:pathLst>
                <a:path w="211971" h="26496">
                  <a:moveTo>
                    <a:pt x="0" y="0"/>
                  </a:moveTo>
                  <a:lnTo>
                    <a:pt x="222173" y="0"/>
                  </a:lnTo>
                  <a:lnTo>
                    <a:pt x="222173" y="33121"/>
                  </a:lnTo>
                  <a:lnTo>
                    <a:pt x="0" y="33121"/>
                  </a:lnTo>
                  <a:close/>
                </a:path>
              </a:pathLst>
            </a:custGeom>
            <a:grpFill/>
            <a:ln w="12700" cap="rnd">
              <a:solidFill>
                <a:schemeClr val="bg1"/>
              </a:solidFill>
              <a:prstDash val="solid"/>
              <a:round/>
            </a:ln>
          </p:spPr>
          <p:txBody>
            <a:bodyPr rtlCol="0" anchor="ctr"/>
            <a:lstStyle/>
            <a:p>
              <a:endParaRPr lang="en-GB" sz="1600" dirty="0"/>
            </a:p>
          </p:txBody>
        </p:sp>
        <p:sp>
          <p:nvSpPr>
            <p:cNvPr id="96" name="Freeform: Shape 71">
              <a:extLst>
                <a:ext uri="{FF2B5EF4-FFF2-40B4-BE49-F238E27FC236}">
                  <a16:creationId xmlns:a16="http://schemas.microsoft.com/office/drawing/2014/main" id="{98D51D37-CBFF-4EBE-A225-7A289A5AEB45}"/>
                </a:ext>
              </a:extLst>
            </p:cNvPr>
            <p:cNvSpPr/>
            <p:nvPr/>
          </p:nvSpPr>
          <p:spPr>
            <a:xfrm>
              <a:off x="4417184" y="1710959"/>
              <a:ext cx="26496" cy="26496"/>
            </a:xfrm>
            <a:custGeom>
              <a:avLst/>
              <a:gdLst>
                <a:gd name="connsiteX0" fmla="*/ 0 w 26496"/>
                <a:gd name="connsiteY0" fmla="*/ 0 h 26496"/>
                <a:gd name="connsiteX1" fmla="*/ 33253 w 26496"/>
                <a:gd name="connsiteY1" fmla="*/ 33253 h 26496"/>
              </a:gdLst>
              <a:ahLst/>
              <a:cxnLst>
                <a:cxn ang="0">
                  <a:pos x="connsiteX0" y="connsiteY0"/>
                </a:cxn>
                <a:cxn ang="0">
                  <a:pos x="connsiteX1" y="connsiteY1"/>
                </a:cxn>
              </a:cxnLst>
              <a:rect l="l" t="t" r="r" b="b"/>
              <a:pathLst>
                <a:path w="26496" h="26496">
                  <a:moveTo>
                    <a:pt x="0" y="0"/>
                  </a:moveTo>
                  <a:lnTo>
                    <a:pt x="33253" y="33253"/>
                  </a:lnTo>
                </a:path>
              </a:pathLst>
            </a:custGeom>
            <a:grpFill/>
            <a:ln w="12700" cap="rnd">
              <a:solidFill>
                <a:schemeClr val="bg1"/>
              </a:solidFill>
              <a:prstDash val="solid"/>
              <a:round/>
            </a:ln>
          </p:spPr>
          <p:txBody>
            <a:bodyPr rtlCol="0" anchor="ctr"/>
            <a:lstStyle/>
            <a:p>
              <a:endParaRPr lang="en-GB" sz="1600" dirty="0"/>
            </a:p>
          </p:txBody>
        </p:sp>
        <p:sp>
          <p:nvSpPr>
            <p:cNvPr id="97" name="Freeform: Shape 72">
              <a:extLst>
                <a:ext uri="{FF2B5EF4-FFF2-40B4-BE49-F238E27FC236}">
                  <a16:creationId xmlns:a16="http://schemas.microsoft.com/office/drawing/2014/main" id="{B2286925-4604-44D2-BF09-0E6D9F24317D}"/>
                </a:ext>
              </a:extLst>
            </p:cNvPr>
            <p:cNvSpPr/>
            <p:nvPr/>
          </p:nvSpPr>
          <p:spPr>
            <a:xfrm>
              <a:off x="4417184" y="1710959"/>
              <a:ext cx="26496" cy="26496"/>
            </a:xfrm>
            <a:custGeom>
              <a:avLst/>
              <a:gdLst>
                <a:gd name="connsiteX0" fmla="*/ 33253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253" y="0"/>
                  </a:moveTo>
                  <a:lnTo>
                    <a:pt x="0" y="33253"/>
                  </a:lnTo>
                </a:path>
              </a:pathLst>
            </a:custGeom>
            <a:grpFill/>
            <a:ln w="12700" cap="rnd">
              <a:solidFill>
                <a:schemeClr val="bg1"/>
              </a:solidFill>
              <a:prstDash val="solid"/>
              <a:round/>
            </a:ln>
          </p:spPr>
          <p:txBody>
            <a:bodyPr rtlCol="0" anchor="ctr"/>
            <a:lstStyle/>
            <a:p>
              <a:endParaRPr lang="en-GB" sz="1600" dirty="0"/>
            </a:p>
          </p:txBody>
        </p:sp>
        <p:sp>
          <p:nvSpPr>
            <p:cNvPr id="98" name="Freeform: Shape 73">
              <a:extLst>
                <a:ext uri="{FF2B5EF4-FFF2-40B4-BE49-F238E27FC236}">
                  <a16:creationId xmlns:a16="http://schemas.microsoft.com/office/drawing/2014/main" id="{DE755887-1E43-410D-94BE-E91E77D4BF7B}"/>
                </a:ext>
              </a:extLst>
            </p:cNvPr>
            <p:cNvSpPr/>
            <p:nvPr/>
          </p:nvSpPr>
          <p:spPr>
            <a:xfrm>
              <a:off x="4561457" y="1710959"/>
              <a:ext cx="26496" cy="26496"/>
            </a:xfrm>
            <a:custGeom>
              <a:avLst/>
              <a:gdLst>
                <a:gd name="connsiteX0" fmla="*/ 0 w 26496"/>
                <a:gd name="connsiteY0" fmla="*/ 0 h 26496"/>
                <a:gd name="connsiteX1" fmla="*/ 33121 w 26496"/>
                <a:gd name="connsiteY1" fmla="*/ 33253 h 26496"/>
              </a:gdLst>
              <a:ahLst/>
              <a:cxnLst>
                <a:cxn ang="0">
                  <a:pos x="connsiteX0" y="connsiteY0"/>
                </a:cxn>
                <a:cxn ang="0">
                  <a:pos x="connsiteX1" y="connsiteY1"/>
                </a:cxn>
              </a:cxnLst>
              <a:rect l="l" t="t" r="r" b="b"/>
              <a:pathLst>
                <a:path w="26496" h="26496">
                  <a:moveTo>
                    <a:pt x="0" y="0"/>
                  </a:moveTo>
                  <a:lnTo>
                    <a:pt x="33121" y="33253"/>
                  </a:lnTo>
                </a:path>
              </a:pathLst>
            </a:custGeom>
            <a:grpFill/>
            <a:ln w="12700" cap="rnd">
              <a:solidFill>
                <a:schemeClr val="bg1"/>
              </a:solidFill>
              <a:prstDash val="solid"/>
              <a:round/>
            </a:ln>
          </p:spPr>
          <p:txBody>
            <a:bodyPr rtlCol="0" anchor="ctr"/>
            <a:lstStyle/>
            <a:p>
              <a:endParaRPr lang="en-GB" sz="1600" dirty="0"/>
            </a:p>
          </p:txBody>
        </p:sp>
        <p:sp>
          <p:nvSpPr>
            <p:cNvPr id="99" name="Freeform: Shape 74">
              <a:extLst>
                <a:ext uri="{FF2B5EF4-FFF2-40B4-BE49-F238E27FC236}">
                  <a16:creationId xmlns:a16="http://schemas.microsoft.com/office/drawing/2014/main" id="{EBDB654C-F56E-41C2-934A-B4DC59284AA5}"/>
                </a:ext>
              </a:extLst>
            </p:cNvPr>
            <p:cNvSpPr/>
            <p:nvPr/>
          </p:nvSpPr>
          <p:spPr>
            <a:xfrm>
              <a:off x="4561457" y="1710959"/>
              <a:ext cx="26496" cy="26496"/>
            </a:xfrm>
            <a:custGeom>
              <a:avLst/>
              <a:gdLst>
                <a:gd name="connsiteX0" fmla="*/ 33121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121" y="0"/>
                  </a:moveTo>
                  <a:lnTo>
                    <a:pt x="0" y="33253"/>
                  </a:lnTo>
                </a:path>
              </a:pathLst>
            </a:custGeom>
            <a:grpFill/>
            <a:ln w="12700" cap="rnd">
              <a:solidFill>
                <a:schemeClr val="bg1"/>
              </a:solidFill>
              <a:prstDash val="solid"/>
              <a:round/>
            </a:ln>
          </p:spPr>
          <p:txBody>
            <a:bodyPr rtlCol="0" anchor="ctr"/>
            <a:lstStyle/>
            <a:p>
              <a:endParaRPr lang="en-GB" sz="1600" dirty="0"/>
            </a:p>
          </p:txBody>
        </p:sp>
        <p:sp>
          <p:nvSpPr>
            <p:cNvPr id="100" name="Freeform: Shape 75">
              <a:extLst>
                <a:ext uri="{FF2B5EF4-FFF2-40B4-BE49-F238E27FC236}">
                  <a16:creationId xmlns:a16="http://schemas.microsoft.com/office/drawing/2014/main" id="{54844F01-ADD8-461D-A054-983E97A6A2E0}"/>
                </a:ext>
              </a:extLst>
            </p:cNvPr>
            <p:cNvSpPr/>
            <p:nvPr/>
          </p:nvSpPr>
          <p:spPr>
            <a:xfrm>
              <a:off x="4505947" y="1608152"/>
              <a:ext cx="13248" cy="39745"/>
            </a:xfrm>
            <a:custGeom>
              <a:avLst/>
              <a:gdLst>
                <a:gd name="connsiteX0" fmla="*/ 0 w 0"/>
                <a:gd name="connsiteY0" fmla="*/ 44912 h 39744"/>
                <a:gd name="connsiteX1" fmla="*/ 0 w 0"/>
                <a:gd name="connsiteY1" fmla="*/ 0 h 39744"/>
              </a:gdLst>
              <a:ahLst/>
              <a:cxnLst>
                <a:cxn ang="0">
                  <a:pos x="connsiteX0" y="connsiteY0"/>
                </a:cxn>
                <a:cxn ang="0">
                  <a:pos x="connsiteX1" y="connsiteY1"/>
                </a:cxn>
              </a:cxnLst>
              <a:rect l="l" t="t" r="r" b="b"/>
              <a:pathLst>
                <a:path h="39744">
                  <a:moveTo>
                    <a:pt x="0" y="44912"/>
                  </a:moveTo>
                  <a:lnTo>
                    <a:pt x="0" y="0"/>
                  </a:lnTo>
                </a:path>
              </a:pathLst>
            </a:custGeom>
            <a:grpFill/>
            <a:ln w="12700" cap="rnd">
              <a:solidFill>
                <a:schemeClr val="bg1"/>
              </a:solidFill>
              <a:prstDash val="solid"/>
              <a:round/>
            </a:ln>
          </p:spPr>
          <p:txBody>
            <a:bodyPr rtlCol="0" anchor="ctr"/>
            <a:lstStyle/>
            <a:p>
              <a:endParaRPr lang="en-GB" sz="1600" dirty="0"/>
            </a:p>
          </p:txBody>
        </p:sp>
        <p:sp>
          <p:nvSpPr>
            <p:cNvPr id="101" name="Freeform: Shape 76">
              <a:extLst>
                <a:ext uri="{FF2B5EF4-FFF2-40B4-BE49-F238E27FC236}">
                  <a16:creationId xmlns:a16="http://schemas.microsoft.com/office/drawing/2014/main" id="{19962AA1-BC64-4B41-A48C-BD87041BB1A1}"/>
                </a:ext>
              </a:extLst>
            </p:cNvPr>
            <p:cNvSpPr/>
            <p:nvPr/>
          </p:nvSpPr>
          <p:spPr>
            <a:xfrm>
              <a:off x="4488062" y="1568010"/>
              <a:ext cx="26496" cy="26496"/>
            </a:xfrm>
            <a:custGeom>
              <a:avLst/>
              <a:gdLst>
                <a:gd name="connsiteX0" fmla="*/ 35770 w 26496"/>
                <a:gd name="connsiteY0" fmla="*/ 17885 h 26496"/>
                <a:gd name="connsiteX1" fmla="*/ 17885 w 26496"/>
                <a:gd name="connsiteY1" fmla="*/ 35770 h 26496"/>
                <a:gd name="connsiteX2" fmla="*/ 0 w 26496"/>
                <a:gd name="connsiteY2" fmla="*/ 17885 h 26496"/>
                <a:gd name="connsiteX3" fmla="*/ 17885 w 26496"/>
                <a:gd name="connsiteY3" fmla="*/ 0 h 26496"/>
                <a:gd name="connsiteX4" fmla="*/ 35770 w 26496"/>
                <a:gd name="connsiteY4" fmla="*/ 17885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6" h="26496">
                  <a:moveTo>
                    <a:pt x="35770" y="17885"/>
                  </a:moveTo>
                  <a:cubicBezTo>
                    <a:pt x="35770" y="27763"/>
                    <a:pt x="27763" y="35770"/>
                    <a:pt x="17885" y="35770"/>
                  </a:cubicBezTo>
                  <a:cubicBezTo>
                    <a:pt x="8007" y="35770"/>
                    <a:pt x="0" y="27763"/>
                    <a:pt x="0" y="17885"/>
                  </a:cubicBezTo>
                  <a:cubicBezTo>
                    <a:pt x="0" y="8007"/>
                    <a:pt x="8007" y="0"/>
                    <a:pt x="17885" y="0"/>
                  </a:cubicBezTo>
                  <a:cubicBezTo>
                    <a:pt x="27763" y="0"/>
                    <a:pt x="35770" y="8007"/>
                    <a:pt x="35770" y="17885"/>
                  </a:cubicBezTo>
                  <a:close/>
                </a:path>
              </a:pathLst>
            </a:custGeom>
            <a:grpFill/>
            <a:ln w="12700" cap="rnd">
              <a:solidFill>
                <a:schemeClr val="bg1"/>
              </a:solidFill>
              <a:prstDash val="solid"/>
              <a:round/>
            </a:ln>
          </p:spPr>
          <p:txBody>
            <a:bodyPr rtlCol="0" anchor="ctr"/>
            <a:lstStyle/>
            <a:p>
              <a:endParaRPr lang="en-GB" sz="1600" dirty="0"/>
            </a:p>
          </p:txBody>
        </p:sp>
      </p:grpSp>
      <p:grpSp>
        <p:nvGrpSpPr>
          <p:cNvPr id="104" name="Group 103">
            <a:extLst>
              <a:ext uri="{FF2B5EF4-FFF2-40B4-BE49-F238E27FC236}">
                <a16:creationId xmlns:a16="http://schemas.microsoft.com/office/drawing/2014/main" id="{E34C5742-C35C-4F63-80BC-E6FE362A2AC9}"/>
              </a:ext>
              <a:ext uri="{C183D7F6-B498-43B3-948B-1728B52AA6E4}">
                <adec:decorative xmlns:adec="http://schemas.microsoft.com/office/drawing/2017/decorative" val="1"/>
              </a:ext>
            </a:extLst>
          </p:cNvPr>
          <p:cNvGrpSpPr/>
          <p:nvPr userDrawn="1"/>
        </p:nvGrpSpPr>
        <p:grpSpPr>
          <a:xfrm>
            <a:off x="6559527" y="5590082"/>
            <a:ext cx="438168" cy="265916"/>
            <a:chOff x="4139310" y="2382327"/>
            <a:chExt cx="561027" cy="340478"/>
          </a:xfrm>
          <a:noFill/>
        </p:grpSpPr>
        <p:sp>
          <p:nvSpPr>
            <p:cNvPr id="105" name="Freeform: Shape 91">
              <a:extLst>
                <a:ext uri="{FF2B5EF4-FFF2-40B4-BE49-F238E27FC236}">
                  <a16:creationId xmlns:a16="http://schemas.microsoft.com/office/drawing/2014/main" id="{ABFBA63E-06FB-41CC-BB02-EF98AEE91FBA}"/>
                </a:ext>
              </a:extLst>
            </p:cNvPr>
            <p:cNvSpPr/>
            <p:nvPr/>
          </p:nvSpPr>
          <p:spPr>
            <a:xfrm>
              <a:off x="4139310" y="2382327"/>
              <a:ext cx="340478" cy="340478"/>
            </a:xfrm>
            <a:custGeom>
              <a:avLst/>
              <a:gdLst>
                <a:gd name="connsiteX0" fmla="*/ 336148 w 340477"/>
                <a:gd name="connsiteY0" fmla="*/ 118636 h 340477"/>
                <a:gd name="connsiteX1" fmla="*/ 335494 w 340477"/>
                <a:gd name="connsiteY1" fmla="*/ 227981 h 340477"/>
                <a:gd name="connsiteX2" fmla="*/ 116802 w 340477"/>
                <a:gd name="connsiteY2" fmla="*/ 335494 h 340477"/>
                <a:gd name="connsiteX3" fmla="*/ 9290 w 340477"/>
                <a:gd name="connsiteY3" fmla="*/ 116802 h 340477"/>
                <a:gd name="connsiteX4" fmla="*/ 227981 w 340477"/>
                <a:gd name="connsiteY4" fmla="*/ 9290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336148" y="118636"/>
                  </a:moveTo>
                  <a:cubicBezTo>
                    <a:pt x="347410" y="152945"/>
                    <a:pt x="348065" y="191183"/>
                    <a:pt x="335494" y="227981"/>
                  </a:cubicBezTo>
                  <a:cubicBezTo>
                    <a:pt x="304851" y="318077"/>
                    <a:pt x="206898" y="366267"/>
                    <a:pt x="116802" y="335494"/>
                  </a:cubicBezTo>
                  <a:cubicBezTo>
                    <a:pt x="26707" y="304851"/>
                    <a:pt x="-21484" y="206898"/>
                    <a:pt x="9290" y="116802"/>
                  </a:cubicBezTo>
                  <a:cubicBezTo>
                    <a:pt x="40064" y="26707"/>
                    <a:pt x="137886" y="-21484"/>
                    <a:pt x="227981" y="9290"/>
                  </a:cubicBezTo>
                </a:path>
              </a:pathLst>
            </a:custGeom>
            <a:grpFill/>
            <a:ln w="12700" cap="flat">
              <a:solidFill>
                <a:schemeClr val="bg1"/>
              </a:solidFill>
              <a:prstDash val="solid"/>
              <a:round/>
            </a:ln>
          </p:spPr>
          <p:txBody>
            <a:bodyPr rtlCol="0" anchor="ctr"/>
            <a:lstStyle/>
            <a:p>
              <a:endParaRPr lang="en-GB" sz="1600" dirty="0"/>
            </a:p>
          </p:txBody>
        </p:sp>
        <p:sp>
          <p:nvSpPr>
            <p:cNvPr id="106" name="Freeform: Shape 92">
              <a:extLst>
                <a:ext uri="{FF2B5EF4-FFF2-40B4-BE49-F238E27FC236}">
                  <a16:creationId xmlns:a16="http://schemas.microsoft.com/office/drawing/2014/main" id="{C5DBD175-C25C-40B3-A5BB-B3FAA22C3F70}"/>
                </a:ext>
              </a:extLst>
            </p:cNvPr>
            <p:cNvSpPr/>
            <p:nvPr/>
          </p:nvSpPr>
          <p:spPr>
            <a:xfrm>
              <a:off x="4359859" y="2382327"/>
              <a:ext cx="340478" cy="340478"/>
            </a:xfrm>
            <a:custGeom>
              <a:avLst/>
              <a:gdLst>
                <a:gd name="connsiteX0" fmla="*/ 8610 w 340477"/>
                <a:gd name="connsiteY0" fmla="*/ 226148 h 340477"/>
                <a:gd name="connsiteX1" fmla="*/ 9265 w 340477"/>
                <a:gd name="connsiteY1" fmla="*/ 116802 h 340477"/>
                <a:gd name="connsiteX2" fmla="*/ 227956 w 340477"/>
                <a:gd name="connsiteY2" fmla="*/ 9290 h 340477"/>
                <a:gd name="connsiteX3" fmla="*/ 335469 w 340477"/>
                <a:gd name="connsiteY3" fmla="*/ 227981 h 340477"/>
                <a:gd name="connsiteX4" fmla="*/ 116777 w 340477"/>
                <a:gd name="connsiteY4" fmla="*/ 335494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8610" y="226148"/>
                  </a:moveTo>
                  <a:cubicBezTo>
                    <a:pt x="-2652" y="191838"/>
                    <a:pt x="-3307" y="153600"/>
                    <a:pt x="9265" y="116802"/>
                  </a:cubicBezTo>
                  <a:cubicBezTo>
                    <a:pt x="39908" y="26707"/>
                    <a:pt x="137861" y="-21484"/>
                    <a:pt x="227956" y="9290"/>
                  </a:cubicBezTo>
                  <a:cubicBezTo>
                    <a:pt x="318052" y="39933"/>
                    <a:pt x="366243" y="137886"/>
                    <a:pt x="335469" y="227981"/>
                  </a:cubicBezTo>
                  <a:cubicBezTo>
                    <a:pt x="304826" y="318077"/>
                    <a:pt x="206873" y="366267"/>
                    <a:pt x="116777" y="335494"/>
                  </a:cubicBezTo>
                </a:path>
              </a:pathLst>
            </a:custGeom>
            <a:grpFill/>
            <a:ln w="12700" cap="flat">
              <a:solidFill>
                <a:schemeClr val="bg1"/>
              </a:solidFill>
              <a:prstDash val="solid"/>
              <a:round/>
            </a:ln>
          </p:spPr>
          <p:txBody>
            <a:bodyPr rtlCol="0" anchor="ctr"/>
            <a:lstStyle/>
            <a:p>
              <a:endParaRPr lang="en-GB" sz="1600" dirty="0"/>
            </a:p>
          </p:txBody>
        </p:sp>
      </p:grpSp>
      <p:sp>
        <p:nvSpPr>
          <p:cNvPr id="107" name="Freeform: Shape 171">
            <a:extLst>
              <a:ext uri="{FF2B5EF4-FFF2-40B4-BE49-F238E27FC236}">
                <a16:creationId xmlns:a16="http://schemas.microsoft.com/office/drawing/2014/main" id="{C90BA74C-6168-4000-8F6D-9B4B963479E7}"/>
              </a:ext>
              <a:ext uri="{C183D7F6-B498-43B3-948B-1728B52AA6E4}">
                <adec:decorative xmlns:adec="http://schemas.microsoft.com/office/drawing/2017/decorative" val="1"/>
              </a:ext>
            </a:extLst>
          </p:cNvPr>
          <p:cNvSpPr/>
          <p:nvPr userDrawn="1"/>
        </p:nvSpPr>
        <p:spPr>
          <a:xfrm>
            <a:off x="8928119" y="5511775"/>
            <a:ext cx="262654" cy="422530"/>
          </a:xfrm>
          <a:custGeom>
            <a:avLst/>
            <a:gdLst>
              <a:gd name="connsiteX0" fmla="*/ 311668 w 301191"/>
              <a:gd name="connsiteY0" fmla="*/ 89179 h 484525"/>
              <a:gd name="connsiteX1" fmla="*/ 311668 w 301191"/>
              <a:gd name="connsiteY1" fmla="*/ 323977 h 484525"/>
              <a:gd name="connsiteX2" fmla="*/ 155834 w 301191"/>
              <a:gd name="connsiteY2" fmla="*/ 490550 h 484525"/>
              <a:gd name="connsiteX3" fmla="*/ 0 w 301191"/>
              <a:gd name="connsiteY3" fmla="*/ 325156 h 484525"/>
              <a:gd name="connsiteX4" fmla="*/ 0 w 301191"/>
              <a:gd name="connsiteY4" fmla="*/ 90489 h 484525"/>
              <a:gd name="connsiteX5" fmla="*/ 155834 w 301191"/>
              <a:gd name="connsiteY5" fmla="*/ 0 h 484525"/>
              <a:gd name="connsiteX6" fmla="*/ 311668 w 301191"/>
              <a:gd name="connsiteY6" fmla="*/ 89179 h 4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191" h="484525">
                <a:moveTo>
                  <a:pt x="311668" y="89179"/>
                </a:moveTo>
                <a:lnTo>
                  <a:pt x="311668" y="323977"/>
                </a:lnTo>
                <a:cubicBezTo>
                  <a:pt x="311668" y="399930"/>
                  <a:pt x="155834" y="490550"/>
                  <a:pt x="155834" y="490550"/>
                </a:cubicBezTo>
                <a:cubicBezTo>
                  <a:pt x="155834" y="490550"/>
                  <a:pt x="0" y="400061"/>
                  <a:pt x="0" y="325156"/>
                </a:cubicBezTo>
                <a:lnTo>
                  <a:pt x="0" y="90489"/>
                </a:lnTo>
                <a:cubicBezTo>
                  <a:pt x="0" y="90489"/>
                  <a:pt x="155834" y="71500"/>
                  <a:pt x="155834" y="0"/>
                </a:cubicBezTo>
                <a:cubicBezTo>
                  <a:pt x="155834" y="71238"/>
                  <a:pt x="311668" y="89179"/>
                  <a:pt x="311668" y="89179"/>
                </a:cubicBezTo>
                <a:close/>
              </a:path>
            </a:pathLst>
          </a:custGeom>
          <a:noFill/>
          <a:ln w="12700" cap="flat">
            <a:solidFill>
              <a:schemeClr val="bg1"/>
            </a:solidFill>
            <a:prstDash val="solid"/>
            <a:round/>
          </a:ln>
        </p:spPr>
        <p:txBody>
          <a:bodyPr rtlCol="0" anchor="ctr"/>
          <a:lstStyle/>
          <a:p>
            <a:endParaRPr lang="en-GB" sz="1600" dirty="0"/>
          </a:p>
        </p:txBody>
      </p:sp>
      <p:grpSp>
        <p:nvGrpSpPr>
          <p:cNvPr id="32" name="Group 31">
            <a:extLst>
              <a:ext uri="{FF2B5EF4-FFF2-40B4-BE49-F238E27FC236}">
                <a16:creationId xmlns:a16="http://schemas.microsoft.com/office/drawing/2014/main" id="{579AE630-55EA-4A6E-B615-7DED25526FA5}"/>
              </a:ext>
              <a:ext uri="{C183D7F6-B498-43B3-948B-1728B52AA6E4}">
                <adec:decorative xmlns:adec="http://schemas.microsoft.com/office/drawing/2017/decorative" val="1"/>
              </a:ext>
            </a:extLst>
          </p:cNvPr>
          <p:cNvGrpSpPr/>
          <p:nvPr userDrawn="1"/>
        </p:nvGrpSpPr>
        <p:grpSpPr>
          <a:xfrm>
            <a:off x="670282" y="5327041"/>
            <a:ext cx="792000" cy="792000"/>
            <a:chOff x="616942" y="5297414"/>
            <a:chExt cx="792000" cy="792000"/>
          </a:xfrm>
        </p:grpSpPr>
        <p:sp>
          <p:nvSpPr>
            <p:cNvPr id="87" name="Oval 86">
              <a:extLst>
                <a:ext uri="{FF2B5EF4-FFF2-40B4-BE49-F238E27FC236}">
                  <a16:creationId xmlns:a16="http://schemas.microsoft.com/office/drawing/2014/main" id="{DBC711A4-BD21-41CC-A637-54D30B788857}"/>
                </a:ext>
              </a:extLst>
            </p:cNvPr>
            <p:cNvSpPr/>
            <p:nvPr userDrawn="1"/>
          </p:nvSpPr>
          <p:spPr>
            <a:xfrm>
              <a:off x="616942" y="5297414"/>
              <a:ext cx="792000" cy="7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8" name="Group 107">
              <a:extLst>
                <a:ext uri="{FF2B5EF4-FFF2-40B4-BE49-F238E27FC236}">
                  <a16:creationId xmlns:a16="http://schemas.microsoft.com/office/drawing/2014/main" id="{B500FD5C-4CA6-4EF2-AAC3-2966FC8BADFE}"/>
                </a:ext>
              </a:extLst>
            </p:cNvPr>
            <p:cNvGrpSpPr/>
            <p:nvPr userDrawn="1"/>
          </p:nvGrpSpPr>
          <p:grpSpPr>
            <a:xfrm>
              <a:off x="784573" y="5468065"/>
              <a:ext cx="456737" cy="450699"/>
              <a:chOff x="8707777" y="3799709"/>
              <a:chExt cx="463408" cy="457281"/>
            </a:xfrm>
          </p:grpSpPr>
          <p:sp>
            <p:nvSpPr>
              <p:cNvPr id="109" name="Freeform: Shape 386">
                <a:extLst>
                  <a:ext uri="{FF2B5EF4-FFF2-40B4-BE49-F238E27FC236}">
                    <a16:creationId xmlns:a16="http://schemas.microsoft.com/office/drawing/2014/main" id="{7AA85A08-9CBC-4474-8231-4DA9A2594C66}"/>
                  </a:ext>
                </a:extLst>
              </p:cNvPr>
              <p:cNvSpPr/>
              <p:nvPr/>
            </p:nvSpPr>
            <p:spPr>
              <a:xfrm>
                <a:off x="8707777" y="3799709"/>
                <a:ext cx="260559" cy="351754"/>
              </a:xfrm>
              <a:custGeom>
                <a:avLst/>
                <a:gdLst>
                  <a:gd name="connsiteX0" fmla="*/ 262513 w 260558"/>
                  <a:gd name="connsiteY0" fmla="*/ 131192 h 351754"/>
                  <a:gd name="connsiteX1" fmla="*/ 257302 w 260558"/>
                  <a:gd name="connsiteY1" fmla="*/ 167800 h 351754"/>
                  <a:gd name="connsiteX2" fmla="*/ 256520 w 260558"/>
                  <a:gd name="connsiteY2" fmla="*/ 170275 h 351754"/>
                  <a:gd name="connsiteX3" fmla="*/ 246228 w 260558"/>
                  <a:gd name="connsiteY3" fmla="*/ 194507 h 351754"/>
                  <a:gd name="connsiteX4" fmla="*/ 197894 w 260558"/>
                  <a:gd name="connsiteY4" fmla="*/ 358008 h 351754"/>
                  <a:gd name="connsiteX5" fmla="*/ 64749 w 260558"/>
                  <a:gd name="connsiteY5" fmla="*/ 358008 h 351754"/>
                  <a:gd name="connsiteX6" fmla="*/ 16676 w 260558"/>
                  <a:gd name="connsiteY6" fmla="*/ 195289 h 351754"/>
                  <a:gd name="connsiteX7" fmla="*/ 5732 w 260558"/>
                  <a:gd name="connsiteY7" fmla="*/ 169363 h 351754"/>
                  <a:gd name="connsiteX8" fmla="*/ 5211 w 260558"/>
                  <a:gd name="connsiteY8" fmla="*/ 167930 h 351754"/>
                  <a:gd name="connsiteX9" fmla="*/ 0 w 260558"/>
                  <a:gd name="connsiteY9" fmla="*/ 131322 h 351754"/>
                  <a:gd name="connsiteX10" fmla="*/ 131322 w 260558"/>
                  <a:gd name="connsiteY10" fmla="*/ 0 h 351754"/>
                  <a:gd name="connsiteX11" fmla="*/ 262513 w 260558"/>
                  <a:gd name="connsiteY11" fmla="*/ 131192 h 35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558" h="351754">
                    <a:moveTo>
                      <a:pt x="262513" y="131192"/>
                    </a:moveTo>
                    <a:cubicBezTo>
                      <a:pt x="262513" y="143959"/>
                      <a:pt x="260689" y="156205"/>
                      <a:pt x="257302" y="167800"/>
                    </a:cubicBezTo>
                    <a:cubicBezTo>
                      <a:pt x="257041" y="168712"/>
                      <a:pt x="256781" y="169494"/>
                      <a:pt x="256520" y="170275"/>
                    </a:cubicBezTo>
                    <a:cubicBezTo>
                      <a:pt x="256520" y="170275"/>
                      <a:pt x="249485" y="186039"/>
                      <a:pt x="246228" y="194507"/>
                    </a:cubicBezTo>
                    <a:cubicBezTo>
                      <a:pt x="218348" y="265119"/>
                      <a:pt x="197894" y="358008"/>
                      <a:pt x="197894" y="358008"/>
                    </a:cubicBezTo>
                    <a:lnTo>
                      <a:pt x="64749" y="358008"/>
                    </a:lnTo>
                    <a:cubicBezTo>
                      <a:pt x="64749" y="358008"/>
                      <a:pt x="44425" y="265770"/>
                      <a:pt x="16676" y="195289"/>
                    </a:cubicBezTo>
                    <a:cubicBezTo>
                      <a:pt x="13028" y="186169"/>
                      <a:pt x="9380" y="177441"/>
                      <a:pt x="5732" y="169363"/>
                    </a:cubicBezTo>
                    <a:cubicBezTo>
                      <a:pt x="5472" y="168973"/>
                      <a:pt x="5342" y="168451"/>
                      <a:pt x="5211" y="167930"/>
                    </a:cubicBezTo>
                    <a:cubicBezTo>
                      <a:pt x="1824" y="156335"/>
                      <a:pt x="0" y="144089"/>
                      <a:pt x="0" y="131322"/>
                    </a:cubicBezTo>
                    <a:cubicBezTo>
                      <a:pt x="0" y="58756"/>
                      <a:pt x="58886" y="0"/>
                      <a:pt x="131322" y="0"/>
                    </a:cubicBezTo>
                    <a:cubicBezTo>
                      <a:pt x="203757" y="-130"/>
                      <a:pt x="262513" y="58626"/>
                      <a:pt x="262513" y="131192"/>
                    </a:cubicBezTo>
                    <a:close/>
                  </a:path>
                </a:pathLst>
              </a:custGeom>
              <a:noFill/>
              <a:ln w="12700" cap="flat">
                <a:solidFill>
                  <a:schemeClr val="bg1"/>
                </a:solidFill>
                <a:prstDash val="solid"/>
                <a:round/>
              </a:ln>
            </p:spPr>
            <p:txBody>
              <a:bodyPr rtlCol="0" anchor="ctr"/>
              <a:lstStyle/>
              <a:p>
                <a:endParaRPr lang="en-GB" sz="1600" dirty="0"/>
              </a:p>
            </p:txBody>
          </p:sp>
          <p:sp>
            <p:nvSpPr>
              <p:cNvPr id="110" name="Freeform: Shape 387">
                <a:extLst>
                  <a:ext uri="{FF2B5EF4-FFF2-40B4-BE49-F238E27FC236}">
                    <a16:creationId xmlns:a16="http://schemas.microsoft.com/office/drawing/2014/main" id="{B7369E5B-6603-420B-A5CC-57D303030A32}"/>
                  </a:ext>
                </a:extLst>
              </p:cNvPr>
              <p:cNvSpPr/>
              <p:nvPr/>
            </p:nvSpPr>
            <p:spPr>
              <a:xfrm>
                <a:off x="8772396" y="4191850"/>
                <a:ext cx="130279" cy="65140"/>
              </a:xfrm>
              <a:custGeom>
                <a:avLst/>
                <a:gdLst>
                  <a:gd name="connsiteX0" fmla="*/ 37130 w 130279"/>
                  <a:gd name="connsiteY0" fmla="*/ 76344 h 65139"/>
                  <a:gd name="connsiteX1" fmla="*/ 95886 w 130279"/>
                  <a:gd name="connsiteY1" fmla="*/ 76344 h 65139"/>
                  <a:gd name="connsiteX2" fmla="*/ 0 w 130279"/>
                  <a:gd name="connsiteY2" fmla="*/ 38172 h 65139"/>
                  <a:gd name="connsiteX3" fmla="*/ 133276 w 130279"/>
                  <a:gd name="connsiteY3" fmla="*/ 38172 h 65139"/>
                  <a:gd name="connsiteX4" fmla="*/ 0 w 130279"/>
                  <a:gd name="connsiteY4" fmla="*/ 0 h 65139"/>
                  <a:gd name="connsiteX5" fmla="*/ 133276 w 130279"/>
                  <a:gd name="connsiteY5" fmla="*/ 0 h 6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79" h="65139">
                    <a:moveTo>
                      <a:pt x="37130" y="76344"/>
                    </a:moveTo>
                    <a:lnTo>
                      <a:pt x="95886" y="76344"/>
                    </a:lnTo>
                    <a:moveTo>
                      <a:pt x="0" y="38172"/>
                    </a:moveTo>
                    <a:lnTo>
                      <a:pt x="133276" y="38172"/>
                    </a:lnTo>
                    <a:moveTo>
                      <a:pt x="0" y="0"/>
                    </a:moveTo>
                    <a:lnTo>
                      <a:pt x="133276" y="0"/>
                    </a:lnTo>
                  </a:path>
                </a:pathLst>
              </a:custGeom>
              <a:noFill/>
              <a:ln w="12700" cap="rnd">
                <a:solidFill>
                  <a:schemeClr val="bg1"/>
                </a:solidFill>
                <a:prstDash val="solid"/>
                <a:round/>
              </a:ln>
            </p:spPr>
            <p:txBody>
              <a:bodyPr rtlCol="0" anchor="ctr"/>
              <a:lstStyle/>
              <a:p>
                <a:endParaRPr lang="en-GB" sz="1600" dirty="0"/>
              </a:p>
            </p:txBody>
          </p:sp>
          <p:sp>
            <p:nvSpPr>
              <p:cNvPr id="111" name="Freeform: Shape 388">
                <a:extLst>
                  <a:ext uri="{FF2B5EF4-FFF2-40B4-BE49-F238E27FC236}">
                    <a16:creationId xmlns:a16="http://schemas.microsoft.com/office/drawing/2014/main" id="{EED8B283-AE2A-4420-A55D-CE08F273936F}"/>
                  </a:ext>
                </a:extLst>
              </p:cNvPr>
              <p:cNvSpPr/>
              <p:nvPr/>
            </p:nvSpPr>
            <p:spPr>
              <a:xfrm>
                <a:off x="8949710" y="3891299"/>
                <a:ext cx="221475" cy="325698"/>
              </a:xfrm>
              <a:custGeom>
                <a:avLst/>
                <a:gdLst>
                  <a:gd name="connsiteX0" fmla="*/ 3123 w 221474"/>
                  <a:gd name="connsiteY0" fmla="*/ 303027 h 325698"/>
                  <a:gd name="connsiteX1" fmla="*/ 257 w 221474"/>
                  <a:gd name="connsiteY1" fmla="*/ 317488 h 325698"/>
                  <a:gd name="connsiteX2" fmla="*/ 10940 w 221474"/>
                  <a:gd name="connsiteY2" fmla="*/ 333512 h 325698"/>
                  <a:gd name="connsiteX3" fmla="*/ 35302 w 221474"/>
                  <a:gd name="connsiteY3" fmla="*/ 338463 h 325698"/>
                  <a:gd name="connsiteX4" fmla="*/ 51327 w 221474"/>
                  <a:gd name="connsiteY4" fmla="*/ 327780 h 325698"/>
                  <a:gd name="connsiteX5" fmla="*/ 54193 w 221474"/>
                  <a:gd name="connsiteY5" fmla="*/ 313319 h 325698"/>
                  <a:gd name="connsiteX6" fmla="*/ 114121 w 221474"/>
                  <a:gd name="connsiteY6" fmla="*/ 301333 h 325698"/>
                  <a:gd name="connsiteX7" fmla="*/ 121678 w 221474"/>
                  <a:gd name="connsiteY7" fmla="*/ 312797 h 325698"/>
                  <a:gd name="connsiteX8" fmla="*/ 140438 w 221474"/>
                  <a:gd name="connsiteY8" fmla="*/ 316576 h 325698"/>
                  <a:gd name="connsiteX9" fmla="*/ 161283 w 221474"/>
                  <a:gd name="connsiteY9" fmla="*/ 302766 h 325698"/>
                  <a:gd name="connsiteX10" fmla="*/ 165061 w 221474"/>
                  <a:gd name="connsiteY10" fmla="*/ 284006 h 325698"/>
                  <a:gd name="connsiteX11" fmla="*/ 157244 w 221474"/>
                  <a:gd name="connsiteY11" fmla="*/ 272150 h 325698"/>
                  <a:gd name="connsiteX12" fmla="*/ 190205 w 221474"/>
                  <a:gd name="connsiteY12" fmla="*/ 222774 h 325698"/>
                  <a:gd name="connsiteX13" fmla="*/ 204796 w 221474"/>
                  <a:gd name="connsiteY13" fmla="*/ 225771 h 325698"/>
                  <a:gd name="connsiteX14" fmla="*/ 220690 w 221474"/>
                  <a:gd name="connsiteY14" fmla="*/ 215218 h 325698"/>
                  <a:gd name="connsiteX15" fmla="*/ 225641 w 221474"/>
                  <a:gd name="connsiteY15" fmla="*/ 190726 h 325698"/>
                  <a:gd name="connsiteX16" fmla="*/ 215088 w 221474"/>
                  <a:gd name="connsiteY16" fmla="*/ 174832 h 325698"/>
                  <a:gd name="connsiteX17" fmla="*/ 200497 w 221474"/>
                  <a:gd name="connsiteY17" fmla="*/ 171835 h 325698"/>
                  <a:gd name="connsiteX18" fmla="*/ 186036 w 221474"/>
                  <a:gd name="connsiteY18" fmla="*/ 106305 h 325698"/>
                  <a:gd name="connsiteX19" fmla="*/ 198282 w 221474"/>
                  <a:gd name="connsiteY19" fmla="*/ 98227 h 325698"/>
                  <a:gd name="connsiteX20" fmla="*/ 202060 w 221474"/>
                  <a:gd name="connsiteY20" fmla="*/ 79467 h 325698"/>
                  <a:gd name="connsiteX21" fmla="*/ 188381 w 221474"/>
                  <a:gd name="connsiteY21" fmla="*/ 58622 h 325698"/>
                  <a:gd name="connsiteX22" fmla="*/ 169620 w 221474"/>
                  <a:gd name="connsiteY22" fmla="*/ 54844 h 325698"/>
                  <a:gd name="connsiteX23" fmla="*/ 155420 w 221474"/>
                  <a:gd name="connsiteY23" fmla="*/ 64355 h 325698"/>
                  <a:gd name="connsiteX24" fmla="*/ 110474 w 221474"/>
                  <a:gd name="connsiteY24" fmla="*/ 35693 h 325698"/>
                  <a:gd name="connsiteX25" fmla="*/ 113340 w 221474"/>
                  <a:gd name="connsiteY25" fmla="*/ 21232 h 325698"/>
                  <a:gd name="connsiteX26" fmla="*/ 102657 w 221474"/>
                  <a:gd name="connsiteY26" fmla="*/ 5208 h 325698"/>
                  <a:gd name="connsiteX27" fmla="*/ 78295 w 221474"/>
                  <a:gd name="connsiteY27" fmla="*/ 257 h 325698"/>
                  <a:gd name="connsiteX28" fmla="*/ 62270 w 221474"/>
                  <a:gd name="connsiteY28" fmla="*/ 10940 h 325698"/>
                  <a:gd name="connsiteX29" fmla="*/ 59404 w 221474"/>
                  <a:gd name="connsiteY29" fmla="*/ 25401 h 325698"/>
                  <a:gd name="connsiteX30" fmla="*/ 50675 w 221474"/>
                  <a:gd name="connsiteY30" fmla="*/ 67872 h 325698"/>
                  <a:gd name="connsiteX31" fmla="*/ 76862 w 221474"/>
                  <a:gd name="connsiteY31" fmla="*/ 69696 h 325698"/>
                  <a:gd name="connsiteX32" fmla="*/ 156332 w 221474"/>
                  <a:gd name="connsiteY32" fmla="*/ 189553 h 325698"/>
                  <a:gd name="connsiteX33" fmla="*/ 36475 w 221474"/>
                  <a:gd name="connsiteY33" fmla="*/ 269154 h 325698"/>
                  <a:gd name="connsiteX34" fmla="*/ 11592 w 221474"/>
                  <a:gd name="connsiteY34" fmla="*/ 260686 h 32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474" h="325698">
                    <a:moveTo>
                      <a:pt x="3123" y="303027"/>
                    </a:moveTo>
                    <a:lnTo>
                      <a:pt x="257" y="317488"/>
                    </a:lnTo>
                    <a:cubicBezTo>
                      <a:pt x="-1176" y="324783"/>
                      <a:pt x="3514" y="332079"/>
                      <a:pt x="10940" y="333512"/>
                    </a:cubicBezTo>
                    <a:lnTo>
                      <a:pt x="35302" y="338463"/>
                    </a:lnTo>
                    <a:cubicBezTo>
                      <a:pt x="42598" y="339896"/>
                      <a:pt x="49763" y="335206"/>
                      <a:pt x="51327" y="327780"/>
                    </a:cubicBezTo>
                    <a:lnTo>
                      <a:pt x="54193" y="313319"/>
                    </a:lnTo>
                    <a:cubicBezTo>
                      <a:pt x="75298" y="313709"/>
                      <a:pt x="95622" y="309541"/>
                      <a:pt x="114121" y="301333"/>
                    </a:cubicBezTo>
                    <a:lnTo>
                      <a:pt x="121678" y="312797"/>
                    </a:lnTo>
                    <a:cubicBezTo>
                      <a:pt x="125847" y="319051"/>
                      <a:pt x="134315" y="320745"/>
                      <a:pt x="140438" y="316576"/>
                    </a:cubicBezTo>
                    <a:lnTo>
                      <a:pt x="161283" y="302766"/>
                    </a:lnTo>
                    <a:cubicBezTo>
                      <a:pt x="167536" y="298597"/>
                      <a:pt x="169230" y="290259"/>
                      <a:pt x="165061" y="284006"/>
                    </a:cubicBezTo>
                    <a:lnTo>
                      <a:pt x="157244" y="272150"/>
                    </a:lnTo>
                    <a:cubicBezTo>
                      <a:pt x="171314" y="258471"/>
                      <a:pt x="182648" y="241795"/>
                      <a:pt x="190205" y="222774"/>
                    </a:cubicBezTo>
                    <a:lnTo>
                      <a:pt x="204796" y="225771"/>
                    </a:lnTo>
                    <a:cubicBezTo>
                      <a:pt x="212092" y="227204"/>
                      <a:pt x="219257" y="222514"/>
                      <a:pt x="220690" y="215218"/>
                    </a:cubicBezTo>
                    <a:lnTo>
                      <a:pt x="225641" y="190726"/>
                    </a:lnTo>
                    <a:cubicBezTo>
                      <a:pt x="227074" y="183430"/>
                      <a:pt x="222384" y="176265"/>
                      <a:pt x="215088" y="174832"/>
                    </a:cubicBezTo>
                    <a:lnTo>
                      <a:pt x="200497" y="171835"/>
                    </a:lnTo>
                    <a:cubicBezTo>
                      <a:pt x="201018" y="148776"/>
                      <a:pt x="195807" y="126368"/>
                      <a:pt x="186036" y="106305"/>
                    </a:cubicBezTo>
                    <a:lnTo>
                      <a:pt x="198282" y="98227"/>
                    </a:lnTo>
                    <a:cubicBezTo>
                      <a:pt x="204535" y="94058"/>
                      <a:pt x="206229" y="85721"/>
                      <a:pt x="202060" y="79467"/>
                    </a:cubicBezTo>
                    <a:lnTo>
                      <a:pt x="188381" y="58622"/>
                    </a:lnTo>
                    <a:cubicBezTo>
                      <a:pt x="184212" y="52369"/>
                      <a:pt x="175874" y="50675"/>
                      <a:pt x="169620" y="54844"/>
                    </a:cubicBezTo>
                    <a:lnTo>
                      <a:pt x="155420" y="64355"/>
                    </a:lnTo>
                    <a:cubicBezTo>
                      <a:pt x="142653" y="52369"/>
                      <a:pt x="127410" y="42468"/>
                      <a:pt x="110474" y="35693"/>
                    </a:cubicBezTo>
                    <a:lnTo>
                      <a:pt x="113340" y="21232"/>
                    </a:lnTo>
                    <a:cubicBezTo>
                      <a:pt x="114773" y="13937"/>
                      <a:pt x="110083" y="6771"/>
                      <a:pt x="102657" y="5208"/>
                    </a:cubicBezTo>
                    <a:lnTo>
                      <a:pt x="78295" y="257"/>
                    </a:lnTo>
                    <a:cubicBezTo>
                      <a:pt x="70999" y="-1176"/>
                      <a:pt x="63703" y="3514"/>
                      <a:pt x="62270" y="10940"/>
                    </a:cubicBezTo>
                    <a:lnTo>
                      <a:pt x="59404" y="25401"/>
                    </a:lnTo>
                    <a:moveTo>
                      <a:pt x="50675" y="67872"/>
                    </a:moveTo>
                    <a:cubicBezTo>
                      <a:pt x="59274" y="67351"/>
                      <a:pt x="68003" y="68003"/>
                      <a:pt x="76862" y="69696"/>
                    </a:cubicBezTo>
                    <a:cubicBezTo>
                      <a:pt x="131839" y="80770"/>
                      <a:pt x="167536" y="134575"/>
                      <a:pt x="156332" y="189553"/>
                    </a:cubicBezTo>
                    <a:cubicBezTo>
                      <a:pt x="145258" y="244531"/>
                      <a:pt x="91583" y="280228"/>
                      <a:pt x="36475" y="269154"/>
                    </a:cubicBezTo>
                    <a:cubicBezTo>
                      <a:pt x="27616" y="267330"/>
                      <a:pt x="19278" y="264464"/>
                      <a:pt x="11592" y="260686"/>
                    </a:cubicBezTo>
                  </a:path>
                </a:pathLst>
              </a:custGeom>
              <a:noFill/>
              <a:ln w="12700" cap="rnd">
                <a:solidFill>
                  <a:schemeClr val="bg1"/>
                </a:solidFill>
                <a:prstDash val="solid"/>
                <a:miter/>
              </a:ln>
            </p:spPr>
            <p:txBody>
              <a:bodyPr rtlCol="0" anchor="ctr"/>
              <a:lstStyle/>
              <a:p>
                <a:endParaRPr lang="en-GB" sz="1600" dirty="0"/>
              </a:p>
            </p:txBody>
          </p:sp>
        </p:grpSp>
      </p:grpSp>
      <p:grpSp>
        <p:nvGrpSpPr>
          <p:cNvPr id="34" name="Group 33">
            <a:extLst>
              <a:ext uri="{FF2B5EF4-FFF2-40B4-BE49-F238E27FC236}">
                <a16:creationId xmlns:a16="http://schemas.microsoft.com/office/drawing/2014/main" id="{7D0AA2F7-6DDB-4031-A4C3-C3D502672503}"/>
              </a:ext>
              <a:ext uri="{C183D7F6-B498-43B3-948B-1728B52AA6E4}">
                <adec:decorative xmlns:adec="http://schemas.microsoft.com/office/drawing/2017/decorative" val="1"/>
              </a:ext>
            </a:extLst>
          </p:cNvPr>
          <p:cNvGrpSpPr/>
          <p:nvPr userDrawn="1"/>
        </p:nvGrpSpPr>
        <p:grpSpPr>
          <a:xfrm>
            <a:off x="670282" y="3265284"/>
            <a:ext cx="792000" cy="792000"/>
            <a:chOff x="616942" y="2848838"/>
            <a:chExt cx="792000" cy="792000"/>
          </a:xfrm>
        </p:grpSpPr>
        <p:sp>
          <p:nvSpPr>
            <p:cNvPr id="115" name="Oval 114">
              <a:extLst>
                <a:ext uri="{FF2B5EF4-FFF2-40B4-BE49-F238E27FC236}">
                  <a16:creationId xmlns:a16="http://schemas.microsoft.com/office/drawing/2014/main" id="{1340CE55-4C83-4D57-90DE-977624D123E3}"/>
                </a:ext>
              </a:extLst>
            </p:cNvPr>
            <p:cNvSpPr/>
            <p:nvPr userDrawn="1"/>
          </p:nvSpPr>
          <p:spPr>
            <a:xfrm>
              <a:off x="616942" y="2848838"/>
              <a:ext cx="792000" cy="792000"/>
            </a:xfrm>
            <a:prstGeom prst="ellipse">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18" name="Group 117">
              <a:extLst>
                <a:ext uri="{FF2B5EF4-FFF2-40B4-BE49-F238E27FC236}">
                  <a16:creationId xmlns:a16="http://schemas.microsoft.com/office/drawing/2014/main" id="{1FD81101-42E1-4D92-8A4E-E9CBF9A3F5C1}"/>
                </a:ext>
              </a:extLst>
            </p:cNvPr>
            <p:cNvGrpSpPr>
              <a:grpSpLocks noChangeAspect="1"/>
            </p:cNvGrpSpPr>
            <p:nvPr userDrawn="1"/>
          </p:nvGrpSpPr>
          <p:grpSpPr>
            <a:xfrm>
              <a:off x="861436" y="2993589"/>
              <a:ext cx="303012" cy="502498"/>
              <a:chOff x="7330925" y="1169779"/>
              <a:chExt cx="343825" cy="570179"/>
            </a:xfrm>
          </p:grpSpPr>
          <p:sp>
            <p:nvSpPr>
              <p:cNvPr id="119" name="Freeform: Shape 182">
                <a:extLst>
                  <a:ext uri="{FF2B5EF4-FFF2-40B4-BE49-F238E27FC236}">
                    <a16:creationId xmlns:a16="http://schemas.microsoft.com/office/drawing/2014/main" id="{AC4F1B74-327D-4A41-8276-384CC303061D}"/>
                  </a:ext>
                </a:extLst>
              </p:cNvPr>
              <p:cNvSpPr/>
              <p:nvPr/>
            </p:nvSpPr>
            <p:spPr>
              <a:xfrm>
                <a:off x="7361324" y="1169779"/>
                <a:ext cx="313426" cy="261189"/>
              </a:xfrm>
              <a:custGeom>
                <a:avLst/>
                <a:gdLst>
                  <a:gd name="connsiteX0" fmla="*/ 198428 w 228600"/>
                  <a:gd name="connsiteY0" fmla="*/ 198409 h 190500"/>
                  <a:gd name="connsiteX1" fmla="*/ 232432 w 228600"/>
                  <a:gd name="connsiteY1" fmla="*/ 116209 h 190500"/>
                  <a:gd name="connsiteX2" fmla="*/ 198428 w 228600"/>
                  <a:gd name="connsiteY2" fmla="*/ 34008 h 190500"/>
                  <a:gd name="connsiteX3" fmla="*/ 188045 w 228600"/>
                  <a:gd name="connsiteY3" fmla="*/ 24769 h 190500"/>
                  <a:gd name="connsiteX4" fmla="*/ 64506 w 228600"/>
                  <a:gd name="connsiteY4" fmla="*/ 12100 h 190500"/>
                  <a:gd name="connsiteX5" fmla="*/ 61554 w 228600"/>
                  <a:gd name="connsiteY5" fmla="*/ 13624 h 190500"/>
                  <a:gd name="connsiteX6" fmla="*/ 34026 w 228600"/>
                  <a:gd name="connsiteY6" fmla="*/ 34008 h 190500"/>
                  <a:gd name="connsiteX7" fmla="*/ 593 w 228600"/>
                  <a:gd name="connsiteY7" fmla="*/ 104493 h 190500"/>
                  <a:gd name="connsiteX8" fmla="*/ 18501 w 228600"/>
                  <a:gd name="connsiteY8" fmla="*/ 179169 h 190500"/>
                  <a:gd name="connsiteX9" fmla="*/ 34026 w 228600"/>
                  <a:gd name="connsiteY9" fmla="*/ 19840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90500">
                    <a:moveTo>
                      <a:pt x="198428" y="198409"/>
                    </a:moveTo>
                    <a:cubicBezTo>
                      <a:pt x="220335" y="176407"/>
                      <a:pt x="232432" y="147260"/>
                      <a:pt x="232432" y="116209"/>
                    </a:cubicBezTo>
                    <a:cubicBezTo>
                      <a:pt x="232432" y="85157"/>
                      <a:pt x="220335" y="56011"/>
                      <a:pt x="198428" y="34008"/>
                    </a:cubicBezTo>
                    <a:cubicBezTo>
                      <a:pt x="195189" y="30769"/>
                      <a:pt x="191665" y="27626"/>
                      <a:pt x="188045" y="24769"/>
                    </a:cubicBezTo>
                    <a:cubicBezTo>
                      <a:pt x="152993" y="-2854"/>
                      <a:pt x="104511" y="-7807"/>
                      <a:pt x="64506" y="12100"/>
                    </a:cubicBezTo>
                    <a:cubicBezTo>
                      <a:pt x="64030" y="12386"/>
                      <a:pt x="62125" y="13339"/>
                      <a:pt x="61554" y="13624"/>
                    </a:cubicBezTo>
                    <a:cubicBezTo>
                      <a:pt x="51457" y="19054"/>
                      <a:pt x="42218" y="25912"/>
                      <a:pt x="34026" y="34008"/>
                    </a:cubicBezTo>
                    <a:cubicBezTo>
                      <a:pt x="15167" y="52867"/>
                      <a:pt x="3261" y="77918"/>
                      <a:pt x="593" y="104493"/>
                    </a:cubicBezTo>
                    <a:cubicBezTo>
                      <a:pt x="-2073" y="130687"/>
                      <a:pt x="4308" y="157166"/>
                      <a:pt x="18501" y="179169"/>
                    </a:cubicBezTo>
                    <a:cubicBezTo>
                      <a:pt x="22977" y="186122"/>
                      <a:pt x="28216" y="192599"/>
                      <a:pt x="34026" y="198409"/>
                    </a:cubicBezTo>
                  </a:path>
                </a:pathLst>
              </a:custGeom>
              <a:noFill/>
              <a:ln w="12700" cap="rnd">
                <a:solidFill>
                  <a:schemeClr val="bg1"/>
                </a:solidFill>
                <a:prstDash val="solid"/>
                <a:miter/>
              </a:ln>
            </p:spPr>
            <p:txBody>
              <a:bodyPr rtlCol="0" anchor="ctr"/>
              <a:lstStyle/>
              <a:p>
                <a:endParaRPr lang="en-GB" sz="1600" dirty="0"/>
              </a:p>
            </p:txBody>
          </p:sp>
          <p:sp>
            <p:nvSpPr>
              <p:cNvPr id="120" name="Freeform: Shape 183">
                <a:extLst>
                  <a:ext uri="{FF2B5EF4-FFF2-40B4-BE49-F238E27FC236}">
                    <a16:creationId xmlns:a16="http://schemas.microsoft.com/office/drawing/2014/main" id="{EA8CD80B-EF0F-4850-92A3-318DE2C4D6BB}"/>
                  </a:ext>
                </a:extLst>
              </p:cNvPr>
              <p:cNvSpPr/>
              <p:nvPr/>
            </p:nvSpPr>
            <p:spPr>
              <a:xfrm>
                <a:off x="7420031" y="1228656"/>
                <a:ext cx="195891" cy="169773"/>
              </a:xfrm>
              <a:custGeom>
                <a:avLst/>
                <a:gdLst>
                  <a:gd name="connsiteX0" fmla="*/ 125320 w 142875"/>
                  <a:gd name="connsiteY0" fmla="*/ 125272 h 123825"/>
                  <a:gd name="connsiteX1" fmla="*/ 125320 w 142875"/>
                  <a:gd name="connsiteY1" fmla="*/ 21449 h 123825"/>
                  <a:gd name="connsiteX2" fmla="*/ 118748 w 142875"/>
                  <a:gd name="connsiteY2" fmla="*/ 15639 h 123825"/>
                  <a:gd name="connsiteX3" fmla="*/ 40643 w 142875"/>
                  <a:gd name="connsiteY3" fmla="*/ 7638 h 123825"/>
                  <a:gd name="connsiteX4" fmla="*/ 38833 w 142875"/>
                  <a:gd name="connsiteY4" fmla="*/ 8590 h 123825"/>
                  <a:gd name="connsiteX5" fmla="*/ 21497 w 142875"/>
                  <a:gd name="connsiteY5" fmla="*/ 21449 h 123825"/>
                  <a:gd name="connsiteX6" fmla="*/ 352 w 142875"/>
                  <a:gd name="connsiteY6" fmla="*/ 66026 h 123825"/>
                  <a:gd name="connsiteX7" fmla="*/ 11686 w 142875"/>
                  <a:gd name="connsiteY7" fmla="*/ 113175 h 123825"/>
                  <a:gd name="connsiteX8" fmla="*/ 21497 w 142875"/>
                  <a:gd name="connsiteY8" fmla="*/ 12536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23825">
                    <a:moveTo>
                      <a:pt x="125320" y="125272"/>
                    </a:moveTo>
                    <a:cubicBezTo>
                      <a:pt x="153990" y="96601"/>
                      <a:pt x="153990" y="50024"/>
                      <a:pt x="125320" y="21449"/>
                    </a:cubicBezTo>
                    <a:cubicBezTo>
                      <a:pt x="123224" y="19354"/>
                      <a:pt x="121034" y="17449"/>
                      <a:pt x="118748" y="15639"/>
                    </a:cubicBezTo>
                    <a:cubicBezTo>
                      <a:pt x="96554" y="-1792"/>
                      <a:pt x="65979" y="-4935"/>
                      <a:pt x="40643" y="7638"/>
                    </a:cubicBezTo>
                    <a:lnTo>
                      <a:pt x="38833" y="8590"/>
                    </a:lnTo>
                    <a:cubicBezTo>
                      <a:pt x="32451" y="12019"/>
                      <a:pt x="26641" y="16306"/>
                      <a:pt x="21497" y="21449"/>
                    </a:cubicBezTo>
                    <a:cubicBezTo>
                      <a:pt x="9591" y="33355"/>
                      <a:pt x="2067" y="49167"/>
                      <a:pt x="352" y="66026"/>
                    </a:cubicBezTo>
                    <a:cubicBezTo>
                      <a:pt x="-1268" y="82600"/>
                      <a:pt x="2733" y="99364"/>
                      <a:pt x="11686" y="113175"/>
                    </a:cubicBezTo>
                    <a:cubicBezTo>
                      <a:pt x="14544" y="117556"/>
                      <a:pt x="17782" y="121652"/>
                      <a:pt x="21497" y="125367"/>
                    </a:cubicBezTo>
                  </a:path>
                </a:pathLst>
              </a:custGeom>
              <a:noFill/>
              <a:ln w="12700" cap="rnd">
                <a:solidFill>
                  <a:schemeClr val="bg1"/>
                </a:solidFill>
                <a:prstDash val="solid"/>
                <a:miter/>
              </a:ln>
            </p:spPr>
            <p:txBody>
              <a:bodyPr rtlCol="0" anchor="ctr"/>
              <a:lstStyle/>
              <a:p>
                <a:endParaRPr lang="en-GB" sz="1600" dirty="0"/>
              </a:p>
            </p:txBody>
          </p:sp>
          <p:sp>
            <p:nvSpPr>
              <p:cNvPr id="121" name="Freeform: Shape 184">
                <a:extLst>
                  <a:ext uri="{FF2B5EF4-FFF2-40B4-BE49-F238E27FC236}">
                    <a16:creationId xmlns:a16="http://schemas.microsoft.com/office/drawing/2014/main" id="{008D7E01-2A10-4071-A764-D0B601637CE0}"/>
                  </a:ext>
                </a:extLst>
              </p:cNvPr>
              <p:cNvSpPr/>
              <p:nvPr/>
            </p:nvSpPr>
            <p:spPr>
              <a:xfrm>
                <a:off x="7330925" y="1335116"/>
                <a:ext cx="274248" cy="404842"/>
              </a:xfrm>
              <a:custGeom>
                <a:avLst/>
                <a:gdLst>
                  <a:gd name="connsiteX0" fmla="*/ 133445 w 200025"/>
                  <a:gd name="connsiteY0" fmla="*/ 297371 h 295275"/>
                  <a:gd name="connsiteX1" fmla="*/ 44863 w 200025"/>
                  <a:gd name="connsiteY1" fmla="*/ 297371 h 295275"/>
                  <a:gd name="connsiteX2" fmla="*/ 286 w 200025"/>
                  <a:gd name="connsiteY2" fmla="*/ 252889 h 295275"/>
                  <a:gd name="connsiteX3" fmla="*/ 0 w 200025"/>
                  <a:gd name="connsiteY3" fmla="*/ 125540 h 295275"/>
                  <a:gd name="connsiteX4" fmla="*/ 23908 w 200025"/>
                  <a:gd name="connsiteY4" fmla="*/ 98870 h 295275"/>
                  <a:gd name="connsiteX5" fmla="*/ 24289 w 200025"/>
                  <a:gd name="connsiteY5" fmla="*/ 98870 h 295275"/>
                  <a:gd name="connsiteX6" fmla="*/ 42672 w 200025"/>
                  <a:gd name="connsiteY6" fmla="*/ 105346 h 295275"/>
                  <a:gd name="connsiteX7" fmla="*/ 61817 w 200025"/>
                  <a:gd name="connsiteY7" fmla="*/ 97917 h 295275"/>
                  <a:gd name="connsiteX8" fmla="*/ 81439 w 200025"/>
                  <a:gd name="connsiteY8" fmla="*/ 105537 h 295275"/>
                  <a:gd name="connsiteX9" fmla="*/ 100394 w 200025"/>
                  <a:gd name="connsiteY9" fmla="*/ 97917 h 295275"/>
                  <a:gd name="connsiteX10" fmla="*/ 113538 w 200025"/>
                  <a:gd name="connsiteY10" fmla="*/ 100870 h 295275"/>
                  <a:gd name="connsiteX11" fmla="*/ 113538 w 200025"/>
                  <a:gd name="connsiteY11" fmla="*/ 27718 h 295275"/>
                  <a:gd name="connsiteX12" fmla="*/ 138208 w 200025"/>
                  <a:gd name="connsiteY12" fmla="*/ 0 h 295275"/>
                  <a:gd name="connsiteX13" fmla="*/ 155448 w 200025"/>
                  <a:gd name="connsiteY13" fmla="*/ 6382 h 295275"/>
                  <a:gd name="connsiteX14" fmla="*/ 162496 w 200025"/>
                  <a:gd name="connsiteY14" fmla="*/ 27527 h 295275"/>
                  <a:gd name="connsiteX15" fmla="*/ 162496 w 200025"/>
                  <a:gd name="connsiteY15" fmla="*/ 27813 h 295275"/>
                  <a:gd name="connsiteX16" fmla="*/ 162496 w 200025"/>
                  <a:gd name="connsiteY16" fmla="*/ 132683 h 295275"/>
                  <a:gd name="connsiteX17" fmla="*/ 175832 w 200025"/>
                  <a:gd name="connsiteY17" fmla="*/ 129159 h 295275"/>
                  <a:gd name="connsiteX18" fmla="*/ 193263 w 200025"/>
                  <a:gd name="connsiteY18" fmla="*/ 135731 h 295275"/>
                  <a:gd name="connsiteX19" fmla="*/ 200311 w 200025"/>
                  <a:gd name="connsiteY19" fmla="*/ 156591 h 295275"/>
                  <a:gd name="connsiteX20" fmla="*/ 200311 w 200025"/>
                  <a:gd name="connsiteY20" fmla="*/ 156782 h 295275"/>
                  <a:gd name="connsiteX21" fmla="*/ 200120 w 200025"/>
                  <a:gd name="connsiteY21" fmla="*/ 158210 h 295275"/>
                  <a:gd name="connsiteX22" fmla="*/ 170022 w 200025"/>
                  <a:gd name="connsiteY22" fmla="*/ 269462 h 295275"/>
                  <a:gd name="connsiteX23" fmla="*/ 133445 w 200025"/>
                  <a:gd name="connsiteY23" fmla="*/ 29737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025" h="295275">
                    <a:moveTo>
                      <a:pt x="133445" y="297371"/>
                    </a:moveTo>
                    <a:lnTo>
                      <a:pt x="44863" y="297371"/>
                    </a:lnTo>
                    <a:cubicBezTo>
                      <a:pt x="20384" y="297371"/>
                      <a:pt x="381" y="277463"/>
                      <a:pt x="286" y="252889"/>
                    </a:cubicBezTo>
                    <a:lnTo>
                      <a:pt x="0" y="125540"/>
                    </a:lnTo>
                    <a:cubicBezTo>
                      <a:pt x="0" y="108966"/>
                      <a:pt x="8858" y="98965"/>
                      <a:pt x="23908" y="98870"/>
                    </a:cubicBezTo>
                    <a:lnTo>
                      <a:pt x="24289" y="98870"/>
                    </a:lnTo>
                    <a:cubicBezTo>
                      <a:pt x="33242" y="98870"/>
                      <a:pt x="38958" y="101727"/>
                      <a:pt x="42672" y="105346"/>
                    </a:cubicBezTo>
                    <a:cubicBezTo>
                      <a:pt x="46863" y="100584"/>
                      <a:pt x="53436" y="97917"/>
                      <a:pt x="61817" y="97917"/>
                    </a:cubicBezTo>
                    <a:cubicBezTo>
                      <a:pt x="70390" y="97917"/>
                      <a:pt x="77058" y="100584"/>
                      <a:pt x="81439" y="105537"/>
                    </a:cubicBezTo>
                    <a:cubicBezTo>
                      <a:pt x="85725" y="100584"/>
                      <a:pt x="92202" y="97917"/>
                      <a:pt x="100394" y="97917"/>
                    </a:cubicBezTo>
                    <a:cubicBezTo>
                      <a:pt x="105442" y="97917"/>
                      <a:pt x="109919" y="98965"/>
                      <a:pt x="113538" y="100870"/>
                    </a:cubicBezTo>
                    <a:lnTo>
                      <a:pt x="113538" y="27718"/>
                    </a:lnTo>
                    <a:cubicBezTo>
                      <a:pt x="113538" y="2667"/>
                      <a:pt x="130779" y="0"/>
                      <a:pt x="138208" y="0"/>
                    </a:cubicBezTo>
                    <a:cubicBezTo>
                      <a:pt x="145447" y="0"/>
                      <a:pt x="151257" y="2096"/>
                      <a:pt x="155448" y="6382"/>
                    </a:cubicBezTo>
                    <a:cubicBezTo>
                      <a:pt x="162496" y="13430"/>
                      <a:pt x="162496" y="24003"/>
                      <a:pt x="162496" y="27527"/>
                    </a:cubicBezTo>
                    <a:lnTo>
                      <a:pt x="162496" y="27813"/>
                    </a:lnTo>
                    <a:lnTo>
                      <a:pt x="162496" y="132683"/>
                    </a:lnTo>
                    <a:cubicBezTo>
                      <a:pt x="165831" y="130493"/>
                      <a:pt x="170212" y="129159"/>
                      <a:pt x="175832" y="129159"/>
                    </a:cubicBezTo>
                    <a:cubicBezTo>
                      <a:pt x="183071" y="129159"/>
                      <a:pt x="188976" y="131350"/>
                      <a:pt x="193263" y="135731"/>
                    </a:cubicBezTo>
                    <a:cubicBezTo>
                      <a:pt x="196596" y="139065"/>
                      <a:pt x="200501" y="145447"/>
                      <a:pt x="200311" y="156591"/>
                    </a:cubicBezTo>
                    <a:lnTo>
                      <a:pt x="200311" y="156782"/>
                    </a:lnTo>
                    <a:cubicBezTo>
                      <a:pt x="200311" y="157258"/>
                      <a:pt x="200216" y="157734"/>
                      <a:pt x="200120" y="158210"/>
                    </a:cubicBezTo>
                    <a:lnTo>
                      <a:pt x="170022" y="269462"/>
                    </a:lnTo>
                    <a:cubicBezTo>
                      <a:pt x="165545" y="285845"/>
                      <a:pt x="150495" y="297371"/>
                      <a:pt x="133445" y="297371"/>
                    </a:cubicBezTo>
                    <a:close/>
                  </a:path>
                </a:pathLst>
              </a:custGeom>
              <a:noFill/>
              <a:ln w="12700" cap="rnd">
                <a:solidFill>
                  <a:schemeClr val="bg1"/>
                </a:solidFill>
                <a:prstDash val="solid"/>
                <a:round/>
              </a:ln>
            </p:spPr>
            <p:txBody>
              <a:bodyPr rtlCol="0" anchor="ctr"/>
              <a:lstStyle/>
              <a:p>
                <a:endParaRPr lang="en-GB" sz="1600" dirty="0"/>
              </a:p>
            </p:txBody>
          </p:sp>
          <p:sp>
            <p:nvSpPr>
              <p:cNvPr id="122" name="Freeform: Shape 185">
                <a:extLst>
                  <a:ext uri="{FF2B5EF4-FFF2-40B4-BE49-F238E27FC236}">
                    <a16:creationId xmlns:a16="http://schemas.microsoft.com/office/drawing/2014/main" id="{FEAD5D74-EF72-4EB1-A8BC-5746692CA725}"/>
                  </a:ext>
                </a:extLst>
              </p:cNvPr>
              <p:cNvSpPr/>
              <p:nvPr/>
            </p:nvSpPr>
            <p:spPr>
              <a:xfrm>
                <a:off x="7482208" y="1290305"/>
                <a:ext cx="65297" cy="52238"/>
              </a:xfrm>
              <a:custGeom>
                <a:avLst/>
                <a:gdLst>
                  <a:gd name="connsiteX0" fmla="*/ 5293 w 47625"/>
                  <a:gd name="connsiteY0" fmla="*/ 44874 h 38100"/>
                  <a:gd name="connsiteX1" fmla="*/ 7294 w 47625"/>
                  <a:gd name="connsiteY1" fmla="*/ 9346 h 38100"/>
                  <a:gd name="connsiteX2" fmla="*/ 13771 w 47625"/>
                  <a:gd name="connsiteY2" fmla="*/ 4012 h 38100"/>
                  <a:gd name="connsiteX3" fmla="*/ 14438 w 47625"/>
                  <a:gd name="connsiteY3" fmla="*/ 3631 h 38100"/>
                  <a:gd name="connsiteX4" fmla="*/ 44727 w 47625"/>
                  <a:gd name="connsiteY4" fmla="*/ 5155 h 38100"/>
                  <a:gd name="connsiteX5" fmla="*/ 47394 w 47625"/>
                  <a:gd name="connsiteY5" fmla="*/ 7251 h 38100"/>
                  <a:gd name="connsiteX6" fmla="*/ 51204 w 47625"/>
                  <a:gd name="connsiteY6" fmla="*/ 4506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38100">
                    <a:moveTo>
                      <a:pt x="5293" y="44874"/>
                    </a:moveTo>
                    <a:cubicBezTo>
                      <a:pt x="-2422" y="34111"/>
                      <a:pt x="-1660" y="19157"/>
                      <a:pt x="7294" y="9346"/>
                    </a:cubicBezTo>
                    <a:cubicBezTo>
                      <a:pt x="9198" y="7251"/>
                      <a:pt x="11390" y="5441"/>
                      <a:pt x="13771" y="4012"/>
                    </a:cubicBezTo>
                    <a:lnTo>
                      <a:pt x="14438" y="3631"/>
                    </a:lnTo>
                    <a:cubicBezTo>
                      <a:pt x="23963" y="-1703"/>
                      <a:pt x="35869" y="-1131"/>
                      <a:pt x="44727" y="5155"/>
                    </a:cubicBezTo>
                    <a:cubicBezTo>
                      <a:pt x="45679" y="5822"/>
                      <a:pt x="46537" y="6489"/>
                      <a:pt x="47394" y="7251"/>
                    </a:cubicBezTo>
                    <a:cubicBezTo>
                      <a:pt x="58252" y="17061"/>
                      <a:pt x="59872" y="33349"/>
                      <a:pt x="51204" y="45065"/>
                    </a:cubicBezTo>
                  </a:path>
                </a:pathLst>
              </a:custGeom>
              <a:noFill/>
              <a:ln w="12700" cap="rnd">
                <a:solidFill>
                  <a:schemeClr val="bg1"/>
                </a:solidFill>
                <a:prstDash val="solid"/>
                <a:miter/>
              </a:ln>
            </p:spPr>
            <p:txBody>
              <a:bodyPr rtlCol="0" anchor="ctr"/>
              <a:lstStyle/>
              <a:p>
                <a:endParaRPr lang="en-GB" sz="1600" dirty="0"/>
              </a:p>
            </p:txBody>
          </p:sp>
        </p:grpSp>
      </p:grpSp>
      <p:grpSp>
        <p:nvGrpSpPr>
          <p:cNvPr id="125" name="Group 124">
            <a:extLst>
              <a:ext uri="{FF2B5EF4-FFF2-40B4-BE49-F238E27FC236}">
                <a16:creationId xmlns:a16="http://schemas.microsoft.com/office/drawing/2014/main" id="{8A4DD028-AF64-46FF-A4C0-78ADE2C6CE4E}"/>
              </a:ext>
              <a:ext uri="{C183D7F6-B498-43B3-948B-1728B52AA6E4}">
                <adec:decorative xmlns:adec="http://schemas.microsoft.com/office/drawing/2017/decorative" val="1"/>
              </a:ext>
            </a:extLst>
          </p:cNvPr>
          <p:cNvGrpSpPr/>
          <p:nvPr userDrawn="1"/>
        </p:nvGrpSpPr>
        <p:grpSpPr>
          <a:xfrm>
            <a:off x="6610110" y="3477486"/>
            <a:ext cx="367596" cy="367596"/>
            <a:chOff x="6151532" y="1261203"/>
            <a:chExt cx="481497" cy="481497"/>
          </a:xfrm>
        </p:grpSpPr>
        <p:sp>
          <p:nvSpPr>
            <p:cNvPr id="126" name="Freeform: Shape 156">
              <a:extLst>
                <a:ext uri="{FF2B5EF4-FFF2-40B4-BE49-F238E27FC236}">
                  <a16:creationId xmlns:a16="http://schemas.microsoft.com/office/drawing/2014/main" id="{B14935AF-A952-4229-8E8D-9921A72123EF}"/>
                </a:ext>
              </a:extLst>
            </p:cNvPr>
            <p:cNvSpPr/>
            <p:nvPr/>
          </p:nvSpPr>
          <p:spPr>
            <a:xfrm>
              <a:off x="6162237" y="1271778"/>
              <a:ext cx="457080" cy="457080"/>
            </a:xfrm>
            <a:custGeom>
              <a:avLst/>
              <a:gdLst>
                <a:gd name="connsiteX0" fmla="*/ 112871 w 333375"/>
                <a:gd name="connsiteY0" fmla="*/ 204883 h 333375"/>
                <a:gd name="connsiteX1" fmla="*/ 106871 w 333375"/>
                <a:gd name="connsiteY1" fmla="*/ 198882 h 333375"/>
                <a:gd name="connsiteX2" fmla="*/ 305753 w 333375"/>
                <a:gd name="connsiteY2" fmla="*/ 0 h 333375"/>
                <a:gd name="connsiteX3" fmla="*/ 341947 w 333375"/>
                <a:gd name="connsiteY3" fmla="*/ 36290 h 333375"/>
                <a:gd name="connsiteX4" fmla="*/ 143066 w 333375"/>
                <a:gd name="connsiteY4" fmla="*/ 235172 h 333375"/>
                <a:gd name="connsiteX5" fmla="*/ 137160 w 333375"/>
                <a:gd name="connsiteY5" fmla="*/ 229267 h 333375"/>
                <a:gd name="connsiteX6" fmla="*/ 92393 w 333375"/>
                <a:gd name="connsiteY6" fmla="*/ 274034 h 333375"/>
                <a:gd name="connsiteX7" fmla="*/ 74771 w 333375"/>
                <a:gd name="connsiteY7" fmla="*/ 307181 h 333375"/>
                <a:gd name="connsiteX8" fmla="*/ 24289 w 333375"/>
                <a:gd name="connsiteY8" fmla="*/ 342043 h 333375"/>
                <a:gd name="connsiteX9" fmla="*/ 0 w 333375"/>
                <a:gd name="connsiteY9" fmla="*/ 317754 h 333375"/>
                <a:gd name="connsiteX10" fmla="*/ 34862 w 333375"/>
                <a:gd name="connsiteY10" fmla="*/ 267272 h 333375"/>
                <a:gd name="connsiteX11" fmla="*/ 68009 w 333375"/>
                <a:gd name="connsiteY11" fmla="*/ 24974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112871" y="204883"/>
                  </a:moveTo>
                  <a:lnTo>
                    <a:pt x="106871" y="198882"/>
                  </a:lnTo>
                  <a:lnTo>
                    <a:pt x="305753" y="0"/>
                  </a:lnTo>
                  <a:lnTo>
                    <a:pt x="341947" y="36290"/>
                  </a:lnTo>
                  <a:lnTo>
                    <a:pt x="143066" y="235172"/>
                  </a:lnTo>
                  <a:lnTo>
                    <a:pt x="137160" y="229267"/>
                  </a:lnTo>
                  <a:lnTo>
                    <a:pt x="92393" y="274034"/>
                  </a:lnTo>
                  <a:lnTo>
                    <a:pt x="74771" y="307181"/>
                  </a:lnTo>
                  <a:lnTo>
                    <a:pt x="24289" y="342043"/>
                  </a:lnTo>
                  <a:lnTo>
                    <a:pt x="0" y="317754"/>
                  </a:lnTo>
                  <a:lnTo>
                    <a:pt x="34862" y="267272"/>
                  </a:lnTo>
                  <a:lnTo>
                    <a:pt x="68009" y="249746"/>
                  </a:lnTo>
                  <a:close/>
                </a:path>
              </a:pathLst>
            </a:custGeom>
            <a:noFill/>
            <a:ln w="12700" cap="rnd">
              <a:solidFill>
                <a:schemeClr val="bg1"/>
              </a:solidFill>
              <a:prstDash val="solid"/>
              <a:round/>
            </a:ln>
          </p:spPr>
          <p:txBody>
            <a:bodyPr rtlCol="0" anchor="ctr"/>
            <a:lstStyle/>
            <a:p>
              <a:endParaRPr lang="en-GB" sz="1600" dirty="0"/>
            </a:p>
          </p:txBody>
        </p:sp>
        <p:sp>
          <p:nvSpPr>
            <p:cNvPr id="127" name="Freeform: Shape 158">
              <a:extLst>
                <a:ext uri="{FF2B5EF4-FFF2-40B4-BE49-F238E27FC236}">
                  <a16:creationId xmlns:a16="http://schemas.microsoft.com/office/drawing/2014/main" id="{ED04FF3C-58F1-48F1-9933-722FD9FF1821}"/>
                </a:ext>
              </a:extLst>
            </p:cNvPr>
            <p:cNvSpPr/>
            <p:nvPr/>
          </p:nvSpPr>
          <p:spPr>
            <a:xfrm>
              <a:off x="6397959" y="1507630"/>
              <a:ext cx="235070" cy="235070"/>
            </a:xfrm>
            <a:custGeom>
              <a:avLst/>
              <a:gdLst>
                <a:gd name="connsiteX0" fmla="*/ 36290 w 171450"/>
                <a:gd name="connsiteY0" fmla="*/ 0 h 171450"/>
                <a:gd name="connsiteX1" fmla="*/ 177832 w 171450"/>
                <a:gd name="connsiteY1" fmla="*/ 141542 h 171450"/>
                <a:gd name="connsiteX2" fmla="*/ 141541 w 171450"/>
                <a:gd name="connsiteY2" fmla="*/ 177832 h 171450"/>
                <a:gd name="connsiteX3" fmla="*/ 0 w 171450"/>
                <a:gd name="connsiteY3" fmla="*/ 36290 h 171450"/>
              </a:gdLst>
              <a:ahLst/>
              <a:cxnLst>
                <a:cxn ang="0">
                  <a:pos x="connsiteX0" y="connsiteY0"/>
                </a:cxn>
                <a:cxn ang="0">
                  <a:pos x="connsiteX1" y="connsiteY1"/>
                </a:cxn>
                <a:cxn ang="0">
                  <a:pos x="connsiteX2" y="connsiteY2"/>
                </a:cxn>
                <a:cxn ang="0">
                  <a:pos x="connsiteX3" y="connsiteY3"/>
                </a:cxn>
              </a:cxnLst>
              <a:rect l="l" t="t" r="r" b="b"/>
              <a:pathLst>
                <a:path w="171450" h="171450">
                  <a:moveTo>
                    <a:pt x="36290" y="0"/>
                  </a:moveTo>
                  <a:lnTo>
                    <a:pt x="177832" y="141542"/>
                  </a:lnTo>
                  <a:lnTo>
                    <a:pt x="141541" y="177832"/>
                  </a:lnTo>
                  <a:lnTo>
                    <a:pt x="0" y="36290"/>
                  </a:lnTo>
                </a:path>
              </a:pathLst>
            </a:custGeom>
            <a:noFill/>
            <a:ln w="12700" cap="rnd">
              <a:solidFill>
                <a:schemeClr val="bg1"/>
              </a:solidFill>
              <a:prstDash val="solid"/>
              <a:round/>
            </a:ln>
          </p:spPr>
          <p:txBody>
            <a:bodyPr rtlCol="0" anchor="ctr"/>
            <a:lstStyle/>
            <a:p>
              <a:endParaRPr lang="en-GB" sz="1600" dirty="0"/>
            </a:p>
          </p:txBody>
        </p:sp>
        <p:sp>
          <p:nvSpPr>
            <p:cNvPr id="128" name="Freeform: Shape 160">
              <a:extLst>
                <a:ext uri="{FF2B5EF4-FFF2-40B4-BE49-F238E27FC236}">
                  <a16:creationId xmlns:a16="http://schemas.microsoft.com/office/drawing/2014/main" id="{F3BF8259-C613-4545-A307-76DACB924BC6}"/>
                </a:ext>
              </a:extLst>
            </p:cNvPr>
            <p:cNvSpPr/>
            <p:nvPr/>
          </p:nvSpPr>
          <p:spPr>
            <a:xfrm>
              <a:off x="6151532" y="1261203"/>
              <a:ext cx="235070" cy="235070"/>
            </a:xfrm>
            <a:custGeom>
              <a:avLst/>
              <a:gdLst>
                <a:gd name="connsiteX0" fmla="*/ 141634 w 171450"/>
                <a:gd name="connsiteY0" fmla="*/ 177924 h 171450"/>
                <a:gd name="connsiteX1" fmla="*/ 112297 w 171450"/>
                <a:gd name="connsiteY1" fmla="*/ 148587 h 171450"/>
                <a:gd name="connsiteX2" fmla="*/ 22857 w 171450"/>
                <a:gd name="connsiteY2" fmla="*/ 133538 h 171450"/>
                <a:gd name="connsiteX3" fmla="*/ 5236 w 171450"/>
                <a:gd name="connsiteY3" fmla="*/ 50099 h 171450"/>
                <a:gd name="connsiteX4" fmla="*/ 49908 w 171450"/>
                <a:gd name="connsiteY4" fmla="*/ 94771 h 171450"/>
                <a:gd name="connsiteX5" fmla="*/ 88484 w 171450"/>
                <a:gd name="connsiteY5" fmla="*/ 94676 h 171450"/>
                <a:gd name="connsiteX6" fmla="*/ 94676 w 171450"/>
                <a:gd name="connsiteY6" fmla="*/ 88484 h 171450"/>
                <a:gd name="connsiteX7" fmla="*/ 94771 w 171450"/>
                <a:gd name="connsiteY7" fmla="*/ 49908 h 171450"/>
                <a:gd name="connsiteX8" fmla="*/ 50099 w 171450"/>
                <a:gd name="connsiteY8" fmla="*/ 5236 h 171450"/>
                <a:gd name="connsiteX9" fmla="*/ 133538 w 171450"/>
                <a:gd name="connsiteY9" fmla="*/ 22857 h 171450"/>
                <a:gd name="connsiteX10" fmla="*/ 148587 w 171450"/>
                <a:gd name="connsiteY10" fmla="*/ 112297 h 171450"/>
                <a:gd name="connsiteX11" fmla="*/ 178686 w 171450"/>
                <a:gd name="connsiteY11" fmla="*/ 14239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450" h="171450">
                  <a:moveTo>
                    <a:pt x="141634" y="177924"/>
                  </a:moveTo>
                  <a:lnTo>
                    <a:pt x="112297" y="148587"/>
                  </a:lnTo>
                  <a:cubicBezTo>
                    <a:pt x="83150" y="162779"/>
                    <a:pt x="47051" y="157636"/>
                    <a:pt x="22857" y="133538"/>
                  </a:cubicBezTo>
                  <a:cubicBezTo>
                    <a:pt x="283" y="110963"/>
                    <a:pt x="-5527" y="78007"/>
                    <a:pt x="5236" y="50099"/>
                  </a:cubicBezTo>
                  <a:lnTo>
                    <a:pt x="49908" y="94771"/>
                  </a:lnTo>
                  <a:cubicBezTo>
                    <a:pt x="60481" y="105344"/>
                    <a:pt x="77912" y="105248"/>
                    <a:pt x="88484" y="94676"/>
                  </a:cubicBezTo>
                  <a:lnTo>
                    <a:pt x="94676" y="88484"/>
                  </a:lnTo>
                  <a:cubicBezTo>
                    <a:pt x="105248" y="77912"/>
                    <a:pt x="105344" y="60481"/>
                    <a:pt x="94771" y="49908"/>
                  </a:cubicBezTo>
                  <a:lnTo>
                    <a:pt x="50099" y="5236"/>
                  </a:lnTo>
                  <a:cubicBezTo>
                    <a:pt x="78102" y="-5527"/>
                    <a:pt x="110963" y="283"/>
                    <a:pt x="133538" y="22857"/>
                  </a:cubicBezTo>
                  <a:cubicBezTo>
                    <a:pt x="157636" y="46955"/>
                    <a:pt x="162780" y="83150"/>
                    <a:pt x="148587" y="112297"/>
                  </a:cubicBezTo>
                  <a:lnTo>
                    <a:pt x="178686" y="142396"/>
                  </a:lnTo>
                </a:path>
              </a:pathLst>
            </a:custGeom>
            <a:noFill/>
            <a:ln w="12700" cap="rnd">
              <a:solidFill>
                <a:schemeClr val="bg1"/>
              </a:solidFill>
              <a:prstDash val="solid"/>
              <a:round/>
            </a:ln>
          </p:spPr>
          <p:txBody>
            <a:bodyPr rtlCol="0" anchor="ctr"/>
            <a:lstStyle/>
            <a:p>
              <a:endParaRPr lang="en-GB" sz="1600" dirty="0"/>
            </a:p>
          </p:txBody>
        </p:sp>
      </p:grpSp>
      <p:grpSp>
        <p:nvGrpSpPr>
          <p:cNvPr id="130" name="Group 129">
            <a:extLst>
              <a:ext uri="{FF2B5EF4-FFF2-40B4-BE49-F238E27FC236}">
                <a16:creationId xmlns:a16="http://schemas.microsoft.com/office/drawing/2014/main" id="{03CCA722-D4CF-40AB-B098-31CEB26C608B}"/>
              </a:ext>
              <a:ext uri="{C183D7F6-B498-43B3-948B-1728B52AA6E4}">
                <adec:decorative xmlns:adec="http://schemas.microsoft.com/office/drawing/2017/decorative" val="1"/>
              </a:ext>
            </a:extLst>
          </p:cNvPr>
          <p:cNvGrpSpPr/>
          <p:nvPr userDrawn="1"/>
        </p:nvGrpSpPr>
        <p:grpSpPr>
          <a:xfrm>
            <a:off x="4235165" y="3450598"/>
            <a:ext cx="432810" cy="421372"/>
            <a:chOff x="2827687" y="2375038"/>
            <a:chExt cx="496315" cy="483199"/>
          </a:xfrm>
        </p:grpSpPr>
        <p:sp>
          <p:nvSpPr>
            <p:cNvPr id="131" name="Freeform: Shape 139">
              <a:extLst>
                <a:ext uri="{FF2B5EF4-FFF2-40B4-BE49-F238E27FC236}">
                  <a16:creationId xmlns:a16="http://schemas.microsoft.com/office/drawing/2014/main" id="{1E69258B-9122-4BA5-B801-5AC3560F9FA1}"/>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chemeClr val="bg1"/>
              </a:solidFill>
              <a:prstDash val="solid"/>
              <a:miter/>
            </a:ln>
          </p:spPr>
          <p:txBody>
            <a:bodyPr rtlCol="0" anchor="ctr"/>
            <a:lstStyle/>
            <a:p>
              <a:endParaRPr lang="en-GB" sz="1600" dirty="0"/>
            </a:p>
          </p:txBody>
        </p:sp>
        <p:sp>
          <p:nvSpPr>
            <p:cNvPr id="132" name="Freeform: Shape 140">
              <a:extLst>
                <a:ext uri="{FF2B5EF4-FFF2-40B4-BE49-F238E27FC236}">
                  <a16:creationId xmlns:a16="http://schemas.microsoft.com/office/drawing/2014/main" id="{6C9EDFCB-6DD0-4768-82B5-8B0804B68E3A}"/>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chemeClr val="bg1"/>
              </a:solidFill>
              <a:prstDash val="solid"/>
              <a:miter/>
            </a:ln>
          </p:spPr>
          <p:txBody>
            <a:bodyPr rtlCol="0" anchor="ctr"/>
            <a:lstStyle/>
            <a:p>
              <a:endParaRPr lang="en-GB" sz="1600" dirty="0"/>
            </a:p>
          </p:txBody>
        </p:sp>
        <p:sp>
          <p:nvSpPr>
            <p:cNvPr id="133" name="Freeform: Shape 141">
              <a:extLst>
                <a:ext uri="{FF2B5EF4-FFF2-40B4-BE49-F238E27FC236}">
                  <a16:creationId xmlns:a16="http://schemas.microsoft.com/office/drawing/2014/main" id="{CA53DC42-27DA-4A82-817D-421A41128486}"/>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chemeClr val="bg1"/>
              </a:solidFill>
              <a:prstDash val="solid"/>
              <a:miter/>
            </a:ln>
          </p:spPr>
          <p:txBody>
            <a:bodyPr rtlCol="0" anchor="ctr"/>
            <a:lstStyle/>
            <a:p>
              <a:endParaRPr lang="en-GB" sz="1600" dirty="0"/>
            </a:p>
          </p:txBody>
        </p:sp>
        <p:sp>
          <p:nvSpPr>
            <p:cNvPr id="134" name="Freeform: Shape 142">
              <a:extLst>
                <a:ext uri="{FF2B5EF4-FFF2-40B4-BE49-F238E27FC236}">
                  <a16:creationId xmlns:a16="http://schemas.microsoft.com/office/drawing/2014/main" id="{A6A199AB-9806-4C80-96DB-804C5C10C236}"/>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135" name="Freeform: Shape 143">
              <a:extLst>
                <a:ext uri="{FF2B5EF4-FFF2-40B4-BE49-F238E27FC236}">
                  <a16:creationId xmlns:a16="http://schemas.microsoft.com/office/drawing/2014/main" id="{A84853FA-2EE6-44E9-A25B-E2E941C0CB83}"/>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136" name="Freeform: Shape 144">
              <a:extLst>
                <a:ext uri="{FF2B5EF4-FFF2-40B4-BE49-F238E27FC236}">
                  <a16:creationId xmlns:a16="http://schemas.microsoft.com/office/drawing/2014/main" id="{75326482-9FC7-4129-BA1A-EDEBEB15A6BE}"/>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137" name="Freeform: Shape 145">
              <a:extLst>
                <a:ext uri="{FF2B5EF4-FFF2-40B4-BE49-F238E27FC236}">
                  <a16:creationId xmlns:a16="http://schemas.microsoft.com/office/drawing/2014/main" id="{D8C41BEC-6410-4315-97C8-8663893AD4DC}"/>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grpSp>
      <p:grpSp>
        <p:nvGrpSpPr>
          <p:cNvPr id="24" name="Group 23">
            <a:extLst>
              <a:ext uri="{FF2B5EF4-FFF2-40B4-BE49-F238E27FC236}">
                <a16:creationId xmlns:a16="http://schemas.microsoft.com/office/drawing/2014/main" id="{E1B23DE9-1B25-40E6-87CA-50E853CBD2EF}"/>
              </a:ext>
              <a:ext uri="{C183D7F6-B498-43B3-948B-1728B52AA6E4}">
                <adec:decorative xmlns:adec="http://schemas.microsoft.com/office/drawing/2017/decorative" val="1"/>
              </a:ext>
            </a:extLst>
          </p:cNvPr>
          <p:cNvGrpSpPr/>
          <p:nvPr userDrawn="1"/>
        </p:nvGrpSpPr>
        <p:grpSpPr>
          <a:xfrm>
            <a:off x="8766081" y="3469196"/>
            <a:ext cx="325438" cy="384175"/>
            <a:chOff x="9007476" y="2855913"/>
            <a:chExt cx="325438" cy="384175"/>
          </a:xfrm>
        </p:grpSpPr>
        <p:sp>
          <p:nvSpPr>
            <p:cNvPr id="15" name="Freeform 12">
              <a:extLst>
                <a:ext uri="{FF2B5EF4-FFF2-40B4-BE49-F238E27FC236}">
                  <a16:creationId xmlns:a16="http://schemas.microsoft.com/office/drawing/2014/main" id="{443E0A3F-4C2D-46EB-97FF-1627A80B77AF}"/>
                </a:ext>
              </a:extLst>
            </p:cNvPr>
            <p:cNvSpPr>
              <a:spLocks/>
            </p:cNvSpPr>
            <p:nvPr userDrawn="1"/>
          </p:nvSpPr>
          <p:spPr bwMode="auto">
            <a:xfrm>
              <a:off x="9007476" y="2855913"/>
              <a:ext cx="325438" cy="153988"/>
            </a:xfrm>
            <a:custGeom>
              <a:avLst/>
              <a:gdLst>
                <a:gd name="T0" fmla="*/ 378 w 378"/>
                <a:gd name="T1" fmla="*/ 91 h 182"/>
                <a:gd name="T2" fmla="*/ 378 w 378"/>
                <a:gd name="T3" fmla="*/ 91 h 182"/>
                <a:gd name="T4" fmla="*/ 189 w 378"/>
                <a:gd name="T5" fmla="*/ 0 h 182"/>
                <a:gd name="T6" fmla="*/ 0 w 378"/>
                <a:gd name="T7" fmla="*/ 91 h 182"/>
                <a:gd name="T8" fmla="*/ 189 w 378"/>
                <a:gd name="T9" fmla="*/ 182 h 182"/>
                <a:gd name="T10" fmla="*/ 378 w 378"/>
                <a:gd name="T11" fmla="*/ 91 h 182"/>
                <a:gd name="T12" fmla="*/ 378 w 378"/>
                <a:gd name="T13" fmla="*/ 91 h 182"/>
              </a:gdLst>
              <a:ahLst/>
              <a:cxnLst>
                <a:cxn ang="0">
                  <a:pos x="T0" y="T1"/>
                </a:cxn>
                <a:cxn ang="0">
                  <a:pos x="T2" y="T3"/>
                </a:cxn>
                <a:cxn ang="0">
                  <a:pos x="T4" y="T5"/>
                </a:cxn>
                <a:cxn ang="0">
                  <a:pos x="T6" y="T7"/>
                </a:cxn>
                <a:cxn ang="0">
                  <a:pos x="T8" y="T9"/>
                </a:cxn>
                <a:cxn ang="0">
                  <a:pos x="T10" y="T11"/>
                </a:cxn>
                <a:cxn ang="0">
                  <a:pos x="T12" y="T13"/>
                </a:cxn>
              </a:cxnLst>
              <a:rect l="0" t="0" r="r" b="b"/>
              <a:pathLst>
                <a:path w="378" h="182">
                  <a:moveTo>
                    <a:pt x="378" y="91"/>
                  </a:moveTo>
                  <a:lnTo>
                    <a:pt x="378" y="91"/>
                  </a:lnTo>
                  <a:cubicBezTo>
                    <a:pt x="378" y="40"/>
                    <a:pt x="294" y="0"/>
                    <a:pt x="189" y="0"/>
                  </a:cubicBezTo>
                  <a:cubicBezTo>
                    <a:pt x="85" y="0"/>
                    <a:pt x="0" y="40"/>
                    <a:pt x="0" y="91"/>
                  </a:cubicBezTo>
                  <a:cubicBezTo>
                    <a:pt x="0" y="141"/>
                    <a:pt x="85" y="182"/>
                    <a:pt x="189" y="182"/>
                  </a:cubicBezTo>
                  <a:cubicBezTo>
                    <a:pt x="294" y="182"/>
                    <a:pt x="378" y="141"/>
                    <a:pt x="378" y="91"/>
                  </a:cubicBezTo>
                  <a:lnTo>
                    <a:pt x="378" y="9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3">
              <a:extLst>
                <a:ext uri="{FF2B5EF4-FFF2-40B4-BE49-F238E27FC236}">
                  <a16:creationId xmlns:a16="http://schemas.microsoft.com/office/drawing/2014/main" id="{A2C0D1CD-EE5C-4ED0-AE87-FC2AA8DB92BC}"/>
                </a:ext>
              </a:extLst>
            </p:cNvPr>
            <p:cNvSpPr>
              <a:spLocks/>
            </p:cNvSpPr>
            <p:nvPr userDrawn="1"/>
          </p:nvSpPr>
          <p:spPr bwMode="auto">
            <a:xfrm>
              <a:off x="9007476" y="3009900"/>
              <a:ext cx="325438" cy="76200"/>
            </a:xfrm>
            <a:custGeom>
              <a:avLst/>
              <a:gdLst>
                <a:gd name="T0" fmla="*/ 0 w 378"/>
                <a:gd name="T1" fmla="*/ 0 h 92"/>
                <a:gd name="T2" fmla="*/ 0 w 378"/>
                <a:gd name="T3" fmla="*/ 0 h 92"/>
                <a:gd name="T4" fmla="*/ 189 w 378"/>
                <a:gd name="T5" fmla="*/ 92 h 92"/>
                <a:gd name="T6" fmla="*/ 378 w 378"/>
                <a:gd name="T7" fmla="*/ 0 h 92"/>
              </a:gdLst>
              <a:ahLst/>
              <a:cxnLst>
                <a:cxn ang="0">
                  <a:pos x="T0" y="T1"/>
                </a:cxn>
                <a:cxn ang="0">
                  <a:pos x="T2" y="T3"/>
                </a:cxn>
                <a:cxn ang="0">
                  <a:pos x="T4" y="T5"/>
                </a:cxn>
                <a:cxn ang="0">
                  <a:pos x="T6" y="T7"/>
                </a:cxn>
              </a:cxnLst>
              <a:rect l="0" t="0" r="r" b="b"/>
              <a:pathLst>
                <a:path w="378" h="92">
                  <a:moveTo>
                    <a:pt x="0" y="0"/>
                  </a:moveTo>
                  <a:lnTo>
                    <a:pt x="0" y="0"/>
                  </a:lnTo>
                  <a:cubicBezTo>
                    <a:pt x="0" y="51"/>
                    <a:pt x="85" y="92"/>
                    <a:pt x="189" y="92"/>
                  </a:cubicBezTo>
                  <a:cubicBezTo>
                    <a:pt x="294" y="92"/>
                    <a:pt x="378" y="51"/>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4">
              <a:extLst>
                <a:ext uri="{FF2B5EF4-FFF2-40B4-BE49-F238E27FC236}">
                  <a16:creationId xmlns:a16="http://schemas.microsoft.com/office/drawing/2014/main" id="{B190E139-4089-45D7-BE84-BB703B7F6860}"/>
                </a:ext>
              </a:extLst>
            </p:cNvPr>
            <p:cNvSpPr>
              <a:spLocks/>
            </p:cNvSpPr>
            <p:nvPr userDrawn="1"/>
          </p:nvSpPr>
          <p:spPr bwMode="auto">
            <a:xfrm>
              <a:off x="9007476" y="3086100"/>
              <a:ext cx="325438" cy="77788"/>
            </a:xfrm>
            <a:custGeom>
              <a:avLst/>
              <a:gdLst>
                <a:gd name="T0" fmla="*/ 0 w 378"/>
                <a:gd name="T1" fmla="*/ 0 h 91"/>
                <a:gd name="T2" fmla="*/ 0 w 378"/>
                <a:gd name="T3" fmla="*/ 0 h 91"/>
                <a:gd name="T4" fmla="*/ 189 w 378"/>
                <a:gd name="T5" fmla="*/ 91 h 91"/>
                <a:gd name="T6" fmla="*/ 378 w 378"/>
                <a:gd name="T7" fmla="*/ 0 h 91"/>
              </a:gdLst>
              <a:ahLst/>
              <a:cxnLst>
                <a:cxn ang="0">
                  <a:pos x="T0" y="T1"/>
                </a:cxn>
                <a:cxn ang="0">
                  <a:pos x="T2" y="T3"/>
                </a:cxn>
                <a:cxn ang="0">
                  <a:pos x="T4" y="T5"/>
                </a:cxn>
                <a:cxn ang="0">
                  <a:pos x="T6" y="T7"/>
                </a:cxn>
              </a:cxnLst>
              <a:rect l="0" t="0" r="r" b="b"/>
              <a:pathLst>
                <a:path w="378" h="91">
                  <a:moveTo>
                    <a:pt x="0" y="0"/>
                  </a:moveTo>
                  <a:lnTo>
                    <a:pt x="0" y="0"/>
                  </a:lnTo>
                  <a:cubicBezTo>
                    <a:pt x="0" y="50"/>
                    <a:pt x="85" y="91"/>
                    <a:pt x="189" y="91"/>
                  </a:cubicBezTo>
                  <a:cubicBezTo>
                    <a:pt x="294" y="91"/>
                    <a:pt x="378" y="50"/>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5">
              <a:extLst>
                <a:ext uri="{FF2B5EF4-FFF2-40B4-BE49-F238E27FC236}">
                  <a16:creationId xmlns:a16="http://schemas.microsoft.com/office/drawing/2014/main" id="{D12929EC-922A-4D98-86BC-59CF60BBF1D5}"/>
                </a:ext>
              </a:extLst>
            </p:cNvPr>
            <p:cNvSpPr>
              <a:spLocks/>
            </p:cNvSpPr>
            <p:nvPr userDrawn="1"/>
          </p:nvSpPr>
          <p:spPr bwMode="auto">
            <a:xfrm>
              <a:off x="9007476" y="2932113"/>
              <a:ext cx="325438" cy="307975"/>
            </a:xfrm>
            <a:custGeom>
              <a:avLst/>
              <a:gdLst>
                <a:gd name="T0" fmla="*/ 378 w 378"/>
                <a:gd name="T1" fmla="*/ 0 h 366"/>
                <a:gd name="T2" fmla="*/ 378 w 378"/>
                <a:gd name="T3" fmla="*/ 0 h 366"/>
                <a:gd name="T4" fmla="*/ 378 w 378"/>
                <a:gd name="T5" fmla="*/ 274 h 366"/>
                <a:gd name="T6" fmla="*/ 189 w 378"/>
                <a:gd name="T7" fmla="*/ 366 h 366"/>
                <a:gd name="T8" fmla="*/ 0 w 378"/>
                <a:gd name="T9" fmla="*/ 274 h 366"/>
                <a:gd name="T10" fmla="*/ 0 w 378"/>
                <a:gd name="T11" fmla="*/ 0 h 366"/>
              </a:gdLst>
              <a:ahLst/>
              <a:cxnLst>
                <a:cxn ang="0">
                  <a:pos x="T0" y="T1"/>
                </a:cxn>
                <a:cxn ang="0">
                  <a:pos x="T2" y="T3"/>
                </a:cxn>
                <a:cxn ang="0">
                  <a:pos x="T4" y="T5"/>
                </a:cxn>
                <a:cxn ang="0">
                  <a:pos x="T6" y="T7"/>
                </a:cxn>
                <a:cxn ang="0">
                  <a:pos x="T8" y="T9"/>
                </a:cxn>
                <a:cxn ang="0">
                  <a:pos x="T10" y="T11"/>
                </a:cxn>
              </a:cxnLst>
              <a:rect l="0" t="0" r="r" b="b"/>
              <a:pathLst>
                <a:path w="378" h="366">
                  <a:moveTo>
                    <a:pt x="378" y="0"/>
                  </a:moveTo>
                  <a:lnTo>
                    <a:pt x="378" y="0"/>
                  </a:lnTo>
                  <a:lnTo>
                    <a:pt x="378" y="274"/>
                  </a:lnTo>
                  <a:cubicBezTo>
                    <a:pt x="378" y="325"/>
                    <a:pt x="294" y="366"/>
                    <a:pt x="189" y="366"/>
                  </a:cubicBezTo>
                  <a:cubicBezTo>
                    <a:pt x="85" y="366"/>
                    <a:pt x="0" y="325"/>
                    <a:pt x="0" y="274"/>
                  </a:cubicBez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91857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apco Services and Solutions_dark">
    <p:spTree>
      <p:nvGrpSpPr>
        <p:cNvPr id="1" name=""/>
        <p:cNvGrpSpPr/>
        <p:nvPr/>
      </p:nvGrpSpPr>
      <p:grpSpPr>
        <a:xfrm>
          <a:off x="0" y="0"/>
          <a:ext cx="0" cy="0"/>
          <a:chOff x="0" y="0"/>
          <a:chExt cx="0" cy="0"/>
        </a:xfrm>
      </p:grpSpPr>
      <p:pic>
        <p:nvPicPr>
          <p:cNvPr id="129" name="Picture 128">
            <a:extLst>
              <a:ext uri="{FF2B5EF4-FFF2-40B4-BE49-F238E27FC236}">
                <a16:creationId xmlns:a16="http://schemas.microsoft.com/office/drawing/2014/main" id="{6F03FF18-AABC-47FE-9923-9D1C550C27DA}"/>
              </a:ext>
              <a:ext uri="{C183D7F6-B498-43B3-948B-1728B52AA6E4}">
                <adec:decorative xmlns:adec="http://schemas.microsoft.com/office/drawing/2017/decorative" val="1"/>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sp>
        <p:nvSpPr>
          <p:cNvPr id="6" name="TextBox 5">
            <a:extLst>
              <a:ext uri="{FF2B5EF4-FFF2-40B4-BE49-F238E27FC236}">
                <a16:creationId xmlns:a16="http://schemas.microsoft.com/office/drawing/2014/main" id="{1F8338AC-4500-47E3-BBAF-D63CA2D1C27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2" name="Rounded Rectangle 108">
            <a:extLst>
              <a:ext uri="{FF2B5EF4-FFF2-40B4-BE49-F238E27FC236}">
                <a16:creationId xmlns:a16="http://schemas.microsoft.com/office/drawing/2014/main" id="{C26113AC-1E2D-65AE-CC8D-37D633075037}"/>
              </a:ext>
              <a:ext uri="{C183D7F6-B498-43B3-948B-1728B52AA6E4}">
                <adec:decorative xmlns:adec="http://schemas.microsoft.com/office/drawing/2017/decorative" val="1"/>
              </a:ext>
            </a:extLst>
          </p:cNvPr>
          <p:cNvSpPr/>
          <p:nvPr userDrawn="1"/>
        </p:nvSpPr>
        <p:spPr>
          <a:xfrm>
            <a:off x="1891622" y="5207602"/>
            <a:ext cx="9755428" cy="1030878"/>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 name="Rectangle 2">
            <a:extLst>
              <a:ext uri="{FF2B5EF4-FFF2-40B4-BE49-F238E27FC236}">
                <a16:creationId xmlns:a16="http://schemas.microsoft.com/office/drawing/2014/main" id="{F3480812-F081-B9BA-05FE-2EBA26BF771C}"/>
              </a:ext>
              <a:ext uri="{C183D7F6-B498-43B3-948B-1728B52AA6E4}">
                <adec:decorative xmlns:adec="http://schemas.microsoft.com/office/drawing/2017/decorative" val="1"/>
              </a:ext>
            </a:extLst>
          </p:cNvPr>
          <p:cNvSpPr/>
          <p:nvPr userDrawn="1"/>
        </p:nvSpPr>
        <p:spPr>
          <a:xfrm>
            <a:off x="2844800" y="2831718"/>
            <a:ext cx="8802250" cy="31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4" name="Pentagon 7">
            <a:extLst>
              <a:ext uri="{FF2B5EF4-FFF2-40B4-BE49-F238E27FC236}">
                <a16:creationId xmlns:a16="http://schemas.microsoft.com/office/drawing/2014/main" id="{B13A520A-34D8-91C0-F7CC-A0A93C0C6435}"/>
              </a:ext>
              <a:ext uri="{C183D7F6-B498-43B3-948B-1728B52AA6E4}">
                <adec:decorative xmlns:adec="http://schemas.microsoft.com/office/drawing/2017/decorative" val="1"/>
              </a:ext>
            </a:extLst>
          </p:cNvPr>
          <p:cNvSpPr/>
          <p:nvPr userDrawn="1"/>
        </p:nvSpPr>
        <p:spPr>
          <a:xfrm>
            <a:off x="559049" y="2831718"/>
            <a:ext cx="2514351" cy="314127"/>
          </a:xfrm>
          <a:prstGeom prst="homePlate">
            <a:avLst>
              <a:gd name="adj" fmla="val 43935"/>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ounded Rectangle 43">
            <a:extLst>
              <a:ext uri="{FF2B5EF4-FFF2-40B4-BE49-F238E27FC236}">
                <a16:creationId xmlns:a16="http://schemas.microsoft.com/office/drawing/2014/main" id="{3A9E5AD5-153E-0CEE-6FA4-133F7B240A71}"/>
              </a:ext>
              <a:ext uri="{C183D7F6-B498-43B3-948B-1728B52AA6E4}">
                <adec:decorative xmlns:adec="http://schemas.microsoft.com/office/drawing/2017/decorative" val="1"/>
              </a:ext>
            </a:extLst>
          </p:cNvPr>
          <p:cNvSpPr/>
          <p:nvPr userDrawn="1"/>
        </p:nvSpPr>
        <p:spPr>
          <a:xfrm>
            <a:off x="1891622" y="4176723"/>
            <a:ext cx="9755428" cy="103087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0" name="Pentagon 45">
            <a:extLst>
              <a:ext uri="{FF2B5EF4-FFF2-40B4-BE49-F238E27FC236}">
                <a16:creationId xmlns:a16="http://schemas.microsoft.com/office/drawing/2014/main" id="{626EF62C-447F-7303-642C-6040F6BC2867}"/>
              </a:ext>
              <a:ext uri="{C183D7F6-B498-43B3-948B-1728B52AA6E4}">
                <adec:decorative xmlns:adec="http://schemas.microsoft.com/office/drawing/2017/decorative" val="1"/>
              </a:ext>
            </a:extLst>
          </p:cNvPr>
          <p:cNvSpPr/>
          <p:nvPr userDrawn="1"/>
        </p:nvSpPr>
        <p:spPr>
          <a:xfrm>
            <a:off x="559049" y="4176723"/>
            <a:ext cx="2642132" cy="1030878"/>
          </a:xfrm>
          <a:prstGeom prst="homePlate">
            <a:avLst>
              <a:gd name="adj" fmla="val 253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 name="Pentagon 109">
            <a:extLst>
              <a:ext uri="{FF2B5EF4-FFF2-40B4-BE49-F238E27FC236}">
                <a16:creationId xmlns:a16="http://schemas.microsoft.com/office/drawing/2014/main" id="{3DEAA4B3-2985-EDA9-EA0F-EC1E162D9A69}"/>
              </a:ext>
              <a:ext uri="{C183D7F6-B498-43B3-948B-1728B52AA6E4}">
                <adec:decorative xmlns:adec="http://schemas.microsoft.com/office/drawing/2017/decorative" val="1"/>
              </a:ext>
            </a:extLst>
          </p:cNvPr>
          <p:cNvSpPr/>
          <p:nvPr userDrawn="1"/>
        </p:nvSpPr>
        <p:spPr>
          <a:xfrm>
            <a:off x="559049" y="5207602"/>
            <a:ext cx="2642132" cy="1030878"/>
          </a:xfrm>
          <a:prstGeom prst="homePlate">
            <a:avLst>
              <a:gd name="adj" fmla="val 2534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Rounded Rectangle 97">
            <a:extLst>
              <a:ext uri="{FF2B5EF4-FFF2-40B4-BE49-F238E27FC236}">
                <a16:creationId xmlns:a16="http://schemas.microsoft.com/office/drawing/2014/main" id="{C1EB4553-5ABA-A2DA-9C43-6FE80559DDA5}"/>
              </a:ext>
              <a:ext uri="{C183D7F6-B498-43B3-948B-1728B52AA6E4}">
                <adec:decorative xmlns:adec="http://schemas.microsoft.com/office/drawing/2017/decorative" val="1"/>
              </a:ext>
            </a:extLst>
          </p:cNvPr>
          <p:cNvSpPr/>
          <p:nvPr userDrawn="1"/>
        </p:nvSpPr>
        <p:spPr>
          <a:xfrm>
            <a:off x="1891622" y="3145845"/>
            <a:ext cx="9755428" cy="1030878"/>
          </a:xfrm>
          <a:prstGeom prst="roundRect">
            <a:avLst>
              <a:gd name="adj" fmla="val 0"/>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 name="Pentagon 98">
            <a:extLst>
              <a:ext uri="{FF2B5EF4-FFF2-40B4-BE49-F238E27FC236}">
                <a16:creationId xmlns:a16="http://schemas.microsoft.com/office/drawing/2014/main" id="{EB90E828-23EB-2BE2-8EA8-3041A2D285FD}"/>
              </a:ext>
              <a:ext uri="{C183D7F6-B498-43B3-948B-1728B52AA6E4}">
                <adec:decorative xmlns:adec="http://schemas.microsoft.com/office/drawing/2017/decorative" val="1"/>
              </a:ext>
            </a:extLst>
          </p:cNvPr>
          <p:cNvSpPr/>
          <p:nvPr userDrawn="1"/>
        </p:nvSpPr>
        <p:spPr>
          <a:xfrm>
            <a:off x="559049" y="3145845"/>
            <a:ext cx="2642132" cy="1030878"/>
          </a:xfrm>
          <a:prstGeom prst="homePlate">
            <a:avLst>
              <a:gd name="adj" fmla="val 25343"/>
            </a:avLst>
          </a:prstGeom>
          <a:solidFill>
            <a:srgbClr val="E62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Rectangle 13">
            <a:extLst>
              <a:ext uri="{FF2B5EF4-FFF2-40B4-BE49-F238E27FC236}">
                <a16:creationId xmlns:a16="http://schemas.microsoft.com/office/drawing/2014/main" id="{25BFC21C-EE5B-38E8-8D7A-7BF051F6426F}"/>
              </a:ext>
              <a:ext uri="{C183D7F6-B498-43B3-948B-1728B52AA6E4}">
                <adec:decorative xmlns:adec="http://schemas.microsoft.com/office/drawing/2017/decorative" val="1"/>
              </a:ext>
            </a:extLst>
          </p:cNvPr>
          <p:cNvSpPr/>
          <p:nvPr userDrawn="1"/>
        </p:nvSpPr>
        <p:spPr>
          <a:xfrm>
            <a:off x="559048" y="2517591"/>
            <a:ext cx="11088001" cy="3141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latin typeface="Century Gothic" panose="020B0502020202020204" pitchFamily="34" charset="0"/>
            </a:endParaRPr>
          </a:p>
        </p:txBody>
      </p:sp>
      <p:cxnSp>
        <p:nvCxnSpPr>
          <p:cNvPr id="31" name="Straight Connector 30">
            <a:extLst>
              <a:ext uri="{FF2B5EF4-FFF2-40B4-BE49-F238E27FC236}">
                <a16:creationId xmlns:a16="http://schemas.microsoft.com/office/drawing/2014/main" id="{A92A1701-E409-AE0A-78EF-33D559EB0079}"/>
              </a:ext>
              <a:ext uri="{C183D7F6-B498-43B3-948B-1728B52AA6E4}">
                <adec:decorative xmlns:adec="http://schemas.microsoft.com/office/drawing/2017/decorative" val="1"/>
              </a:ext>
            </a:extLst>
          </p:cNvPr>
          <p:cNvCxnSpPr/>
          <p:nvPr userDrawn="1"/>
        </p:nvCxnSpPr>
        <p:spPr>
          <a:xfrm>
            <a:off x="2628790"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531836E-168D-FB10-3B0F-E02FDD5A056E}"/>
              </a:ext>
              <a:ext uri="{C183D7F6-B498-43B3-948B-1728B52AA6E4}">
                <adec:decorative xmlns:adec="http://schemas.microsoft.com/office/drawing/2017/decorative" val="1"/>
              </a:ext>
            </a:extLst>
          </p:cNvPr>
          <p:cNvCxnSpPr/>
          <p:nvPr userDrawn="1"/>
        </p:nvCxnSpPr>
        <p:spPr>
          <a:xfrm>
            <a:off x="4919268"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F461FE-63AA-8899-87EA-A7DC7F47819A}"/>
              </a:ext>
              <a:ext uri="{C183D7F6-B498-43B3-948B-1728B52AA6E4}">
                <adec:decorative xmlns:adec="http://schemas.microsoft.com/office/drawing/2017/decorative" val="1"/>
              </a:ext>
            </a:extLst>
          </p:cNvPr>
          <p:cNvCxnSpPr/>
          <p:nvPr userDrawn="1"/>
        </p:nvCxnSpPr>
        <p:spPr>
          <a:xfrm>
            <a:off x="8200402"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F3C988C-FCE6-BE99-ACD0-0E2E6EF73F15}"/>
              </a:ext>
              <a:ext uri="{C183D7F6-B498-43B3-948B-1728B52AA6E4}">
                <adec:decorative xmlns:adec="http://schemas.microsoft.com/office/drawing/2017/decorative" val="1"/>
              </a:ext>
            </a:extLst>
          </p:cNvPr>
          <p:cNvCxnSpPr/>
          <p:nvPr userDrawn="1"/>
        </p:nvCxnSpPr>
        <p:spPr>
          <a:xfrm>
            <a:off x="10029215"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Century Gothic" panose="020B0502020202020204" pitchFamily="34" charset="0"/>
                <a:ea typeface="+mj-ea"/>
                <a:cs typeface="+mj-cs"/>
              </a:rPr>
              <a:t>Capco Services and Solutions</a:t>
            </a:r>
          </a:p>
        </p:txBody>
      </p:sp>
      <p:sp>
        <p:nvSpPr>
          <p:cNvPr id="38" name="TextBox 37">
            <a:extLst>
              <a:ext uri="{FF2B5EF4-FFF2-40B4-BE49-F238E27FC236}">
                <a16:creationId xmlns:a16="http://schemas.microsoft.com/office/drawing/2014/main" id="{FAA0C5EA-76C5-14D0-0D6D-358EDA0A2E53}"/>
              </a:ext>
            </a:extLst>
          </p:cNvPr>
          <p:cNvSpPr txBox="1"/>
          <p:nvPr userDrawn="1"/>
        </p:nvSpPr>
        <p:spPr>
          <a:xfrm>
            <a:off x="559048" y="1192059"/>
            <a:ext cx="1108800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600" b="0" i="0" kern="1200" noProof="0" dirty="0">
                <a:solidFill>
                  <a:schemeClr val="bg1"/>
                </a:solidFill>
                <a:latin typeface="Calibri" panose="020F0502020204030204"/>
                <a:ea typeface="Verdana" panose="020B0604030504040204" pitchFamily="34" charset="0"/>
                <a:cs typeface="Calibri" panose="020F0502020204030204" pitchFamily="34" charset="0"/>
              </a:rPr>
              <a:t>Capco operates at the intersection of business and technology, by combining innovative thinking with unrivalled industry knowledge to fast-track Digital initiatives for Financial Services. Capco’s cutting-edge ingenuity is brought to life through its relevant Services underpinned by distinct Solutions and Offerings, and structured around market demand.</a:t>
            </a:r>
            <a:endParaRPr lang="en-US" sz="1600" b="0" i="0" kern="1200" dirty="0">
              <a:solidFill>
                <a:schemeClr val="bg1"/>
              </a:solidFill>
              <a:latin typeface="Calibri" panose="020F0502020204030204"/>
              <a:ea typeface="Verdana" panose="020B060403050404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0AB97712-ACD8-045D-51E9-E5CECB5113CB}"/>
              </a:ext>
            </a:extLst>
          </p:cNvPr>
          <p:cNvSpPr/>
          <p:nvPr userDrawn="1"/>
        </p:nvSpPr>
        <p:spPr>
          <a:xfrm>
            <a:off x="741615" y="2536155"/>
            <a:ext cx="170591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Banking &amp; Payments</a:t>
            </a:r>
          </a:p>
        </p:txBody>
      </p:sp>
      <p:sp>
        <p:nvSpPr>
          <p:cNvPr id="40" name="Rectangle 39">
            <a:extLst>
              <a:ext uri="{FF2B5EF4-FFF2-40B4-BE49-F238E27FC236}">
                <a16:creationId xmlns:a16="http://schemas.microsoft.com/office/drawing/2014/main" id="{5A1E2638-9F56-C5CA-6691-689594F034B8}"/>
              </a:ext>
            </a:extLst>
          </p:cNvPr>
          <p:cNvSpPr/>
          <p:nvPr userDrawn="1"/>
        </p:nvSpPr>
        <p:spPr>
          <a:xfrm>
            <a:off x="3379144" y="2536155"/>
            <a:ext cx="136127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Capital Markets</a:t>
            </a:r>
          </a:p>
        </p:txBody>
      </p:sp>
      <p:sp>
        <p:nvSpPr>
          <p:cNvPr id="42" name="Rectangle 41">
            <a:extLst>
              <a:ext uri="{FF2B5EF4-FFF2-40B4-BE49-F238E27FC236}">
                <a16:creationId xmlns:a16="http://schemas.microsoft.com/office/drawing/2014/main" id="{53E3817F-9400-6B90-36A5-7DF81444BEE3}"/>
              </a:ext>
            </a:extLst>
          </p:cNvPr>
          <p:cNvSpPr/>
          <p:nvPr userDrawn="1"/>
        </p:nvSpPr>
        <p:spPr>
          <a:xfrm>
            <a:off x="5676836" y="2536155"/>
            <a:ext cx="233749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Wealth &amp; Asset Management</a:t>
            </a:r>
          </a:p>
        </p:txBody>
      </p:sp>
      <p:sp>
        <p:nvSpPr>
          <p:cNvPr id="45" name="Rectangle 44">
            <a:extLst>
              <a:ext uri="{FF2B5EF4-FFF2-40B4-BE49-F238E27FC236}">
                <a16:creationId xmlns:a16="http://schemas.microsoft.com/office/drawing/2014/main" id="{7369FEEA-0A70-625A-F299-85F5717313ED}"/>
              </a:ext>
            </a:extLst>
          </p:cNvPr>
          <p:cNvSpPr/>
          <p:nvPr userDrawn="1"/>
        </p:nvSpPr>
        <p:spPr>
          <a:xfrm>
            <a:off x="8940336" y="2536155"/>
            <a:ext cx="92044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Insurance</a:t>
            </a:r>
          </a:p>
        </p:txBody>
      </p:sp>
      <p:sp>
        <p:nvSpPr>
          <p:cNvPr id="46" name="Rectangle 45">
            <a:extLst>
              <a:ext uri="{FF2B5EF4-FFF2-40B4-BE49-F238E27FC236}">
                <a16:creationId xmlns:a16="http://schemas.microsoft.com/office/drawing/2014/main" id="{1C20C521-CA24-5C12-B8C2-79086EA9F62A}"/>
              </a:ext>
            </a:extLst>
          </p:cNvPr>
          <p:cNvSpPr/>
          <p:nvPr userDrawn="1"/>
        </p:nvSpPr>
        <p:spPr>
          <a:xfrm>
            <a:off x="10749910" y="2536155"/>
            <a:ext cx="69602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Energy</a:t>
            </a:r>
          </a:p>
        </p:txBody>
      </p:sp>
      <p:sp>
        <p:nvSpPr>
          <p:cNvPr id="67" name="TextBox 66">
            <a:extLst>
              <a:ext uri="{FF2B5EF4-FFF2-40B4-BE49-F238E27FC236}">
                <a16:creationId xmlns:a16="http://schemas.microsoft.com/office/drawing/2014/main" id="{0062B41C-1C8F-DF40-D974-BC2477A7730C}"/>
              </a:ext>
            </a:extLst>
          </p:cNvPr>
          <p:cNvSpPr txBox="1"/>
          <p:nvPr userDrawn="1"/>
        </p:nvSpPr>
        <p:spPr>
          <a:xfrm>
            <a:off x="1334697" y="2850282"/>
            <a:ext cx="9630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ervices</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1ADB7D21-5E76-16EE-F01D-5AA11F424F71}"/>
              </a:ext>
            </a:extLst>
          </p:cNvPr>
          <p:cNvSpPr txBox="1"/>
          <p:nvPr userDrawn="1"/>
        </p:nvSpPr>
        <p:spPr>
          <a:xfrm>
            <a:off x="6613406" y="2850282"/>
            <a:ext cx="12650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olutions</a:t>
            </a:r>
          </a:p>
        </p:txBody>
      </p:sp>
      <p:sp>
        <p:nvSpPr>
          <p:cNvPr id="74" name="Rectangle 73">
            <a:extLst>
              <a:ext uri="{FF2B5EF4-FFF2-40B4-BE49-F238E27FC236}">
                <a16:creationId xmlns:a16="http://schemas.microsoft.com/office/drawing/2014/main" id="{C3C90B11-7288-C103-5855-43C5342BA0E1}"/>
              </a:ext>
            </a:extLst>
          </p:cNvPr>
          <p:cNvSpPr/>
          <p:nvPr userDrawn="1"/>
        </p:nvSpPr>
        <p:spPr>
          <a:xfrm>
            <a:off x="1454268" y="3502184"/>
            <a:ext cx="1081191"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Digital</a:t>
            </a:r>
          </a:p>
        </p:txBody>
      </p:sp>
      <p:sp>
        <p:nvSpPr>
          <p:cNvPr id="86" name="Rectangle 85">
            <a:extLst>
              <a:ext uri="{FF2B5EF4-FFF2-40B4-BE49-F238E27FC236}">
                <a16:creationId xmlns:a16="http://schemas.microsoft.com/office/drawing/2014/main" id="{B98A1B30-AF01-66B9-6092-CB0E03F58AE1}"/>
              </a:ext>
            </a:extLst>
          </p:cNvPr>
          <p:cNvSpPr/>
          <p:nvPr userDrawn="1"/>
        </p:nvSpPr>
        <p:spPr>
          <a:xfrm>
            <a:off x="4667975" y="3445840"/>
            <a:ext cx="1120994" cy="430887"/>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Digital</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Innovation</a:t>
            </a:r>
          </a:p>
        </p:txBody>
      </p:sp>
      <p:sp>
        <p:nvSpPr>
          <p:cNvPr id="114" name="Rectangle 113">
            <a:extLst>
              <a:ext uri="{FF2B5EF4-FFF2-40B4-BE49-F238E27FC236}">
                <a16:creationId xmlns:a16="http://schemas.microsoft.com/office/drawing/2014/main" id="{93CF20D5-92B1-FADF-A36C-8058EA70960A}"/>
              </a:ext>
            </a:extLst>
          </p:cNvPr>
          <p:cNvSpPr/>
          <p:nvPr userDrawn="1"/>
        </p:nvSpPr>
        <p:spPr>
          <a:xfrm>
            <a:off x="6977706" y="3445840"/>
            <a:ext cx="1170949"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igital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Engineering</a:t>
            </a:r>
            <a:endParaRPr lang="en-US" sz="1600" dirty="0"/>
          </a:p>
        </p:txBody>
      </p:sp>
      <p:sp>
        <p:nvSpPr>
          <p:cNvPr id="151" name="Rectangle 150">
            <a:extLst>
              <a:ext uri="{FF2B5EF4-FFF2-40B4-BE49-F238E27FC236}">
                <a16:creationId xmlns:a16="http://schemas.microsoft.com/office/drawing/2014/main" id="{6B46820D-A71B-7E3D-B24E-F29A9C605AEB}"/>
              </a:ext>
            </a:extLst>
          </p:cNvPr>
          <p:cNvSpPr/>
          <p:nvPr userDrawn="1"/>
        </p:nvSpPr>
        <p:spPr>
          <a:xfrm>
            <a:off x="9091520" y="3445840"/>
            <a:ext cx="1122597"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ata </a:t>
            </a:r>
            <a:br>
              <a:rPr lang="sk-SK"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a:t>
            </a:r>
            <a:r>
              <a:rPr lang="sk-SK" sz="1100" dirty="0">
                <a:solidFill>
                  <a:srgbClr val="FFFFFF"/>
                </a:solidFill>
                <a:latin typeface="Century Gothic" panose="020B0502020202020204" pitchFamily="34" charset="0"/>
              </a:rPr>
              <a:t> </a:t>
            </a:r>
            <a:r>
              <a:rPr lang="en-US" sz="1100" dirty="0">
                <a:solidFill>
                  <a:srgbClr val="FFFFFF"/>
                </a:solidFill>
                <a:latin typeface="Century Gothic" panose="020B0502020202020204" pitchFamily="34" charset="0"/>
              </a:rPr>
              <a:t>Analytics</a:t>
            </a:r>
            <a:endParaRPr lang="en-US" sz="1600" dirty="0"/>
          </a:p>
        </p:txBody>
      </p:sp>
      <p:sp>
        <p:nvSpPr>
          <p:cNvPr id="152" name="Rectangle 151">
            <a:extLst>
              <a:ext uri="{FF2B5EF4-FFF2-40B4-BE49-F238E27FC236}">
                <a16:creationId xmlns:a16="http://schemas.microsoft.com/office/drawing/2014/main" id="{FFEC0064-586F-98F4-BDDF-C33789EAF57B}"/>
              </a:ext>
            </a:extLst>
          </p:cNvPr>
          <p:cNvSpPr/>
          <p:nvPr userDrawn="1"/>
        </p:nvSpPr>
        <p:spPr>
          <a:xfrm>
            <a:off x="1454268" y="4533061"/>
            <a:ext cx="1526881"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Consulting</a:t>
            </a:r>
          </a:p>
        </p:txBody>
      </p:sp>
      <p:sp>
        <p:nvSpPr>
          <p:cNvPr id="153" name="Rectangle 152">
            <a:extLst>
              <a:ext uri="{FF2B5EF4-FFF2-40B4-BE49-F238E27FC236}">
                <a16:creationId xmlns:a16="http://schemas.microsoft.com/office/drawing/2014/main" id="{232BA6A0-74A7-2B25-581D-4872AC2EA04F}"/>
              </a:ext>
            </a:extLst>
          </p:cNvPr>
          <p:cNvSpPr/>
          <p:nvPr userDrawn="1"/>
        </p:nvSpPr>
        <p:spPr>
          <a:xfrm>
            <a:off x="3837761" y="4561357"/>
            <a:ext cx="898176" cy="261610"/>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trategy</a:t>
            </a:r>
          </a:p>
        </p:txBody>
      </p:sp>
      <p:sp>
        <p:nvSpPr>
          <p:cNvPr id="154" name="Rectangle 153">
            <a:extLst>
              <a:ext uri="{FF2B5EF4-FFF2-40B4-BE49-F238E27FC236}">
                <a16:creationId xmlns:a16="http://schemas.microsoft.com/office/drawing/2014/main" id="{DF833112-B608-36E0-E946-A7389D4D4E52}"/>
              </a:ext>
            </a:extLst>
          </p:cNvPr>
          <p:cNvSpPr/>
          <p:nvPr userDrawn="1"/>
        </p:nvSpPr>
        <p:spPr>
          <a:xfrm>
            <a:off x="5751902" y="4476718"/>
            <a:ext cx="1526554"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Transformation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sp>
        <p:nvSpPr>
          <p:cNvPr id="155" name="Rectangle 154">
            <a:extLst>
              <a:ext uri="{FF2B5EF4-FFF2-40B4-BE49-F238E27FC236}">
                <a16:creationId xmlns:a16="http://schemas.microsoft.com/office/drawing/2014/main" id="{17E21EBB-9085-35B9-3D53-5940968F92B0}"/>
              </a:ext>
            </a:extLst>
          </p:cNvPr>
          <p:cNvSpPr/>
          <p:nvPr userDrawn="1"/>
        </p:nvSpPr>
        <p:spPr>
          <a:xfrm>
            <a:off x="8318999" y="4476718"/>
            <a:ext cx="894970"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Change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sp>
        <p:nvSpPr>
          <p:cNvPr id="156" name="Rectangle 155">
            <a:extLst>
              <a:ext uri="{FF2B5EF4-FFF2-40B4-BE49-F238E27FC236}">
                <a16:creationId xmlns:a16="http://schemas.microsoft.com/office/drawing/2014/main" id="{D573F401-B904-9559-BEA8-BD4C99513EEE}"/>
              </a:ext>
            </a:extLst>
          </p:cNvPr>
          <p:cNvSpPr/>
          <p:nvPr userDrawn="1"/>
        </p:nvSpPr>
        <p:spPr>
          <a:xfrm>
            <a:off x="10170587" y="4476718"/>
            <a:ext cx="1476462"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Risk, Regulatory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 Compliance</a:t>
            </a:r>
          </a:p>
        </p:txBody>
      </p:sp>
      <p:sp>
        <p:nvSpPr>
          <p:cNvPr id="157" name="Rectangle 156">
            <a:extLst>
              <a:ext uri="{FF2B5EF4-FFF2-40B4-BE49-F238E27FC236}">
                <a16:creationId xmlns:a16="http://schemas.microsoft.com/office/drawing/2014/main" id="{09C2046D-4C70-71EF-30BB-B4BAC69ABE0C}"/>
              </a:ext>
            </a:extLst>
          </p:cNvPr>
          <p:cNvSpPr/>
          <p:nvPr userDrawn="1"/>
        </p:nvSpPr>
        <p:spPr>
          <a:xfrm>
            <a:off x="1454268" y="5563940"/>
            <a:ext cx="1671059" cy="318201"/>
          </a:xfrm>
          <a:prstGeom prst="rect">
            <a:avLst/>
          </a:prstGeom>
          <a:noFill/>
        </p:spPr>
        <p:txBody>
          <a:bodyPr wrap="square">
            <a:noAutofit/>
          </a:bodyPr>
          <a:lstStyle/>
          <a:p>
            <a:pPr defTabSz="816235">
              <a:defRPr/>
            </a:pPr>
            <a:r>
              <a:rPr lang="en-GB" sz="1600" b="1" cap="none" dirty="0">
                <a:solidFill>
                  <a:schemeClr val="bg1"/>
                </a:solidFill>
                <a:latin typeface="Century Gothic" panose="020B0502020202020204" pitchFamily="34" charset="0"/>
              </a:rPr>
              <a:t>Technology</a:t>
            </a:r>
          </a:p>
        </p:txBody>
      </p:sp>
      <p:sp>
        <p:nvSpPr>
          <p:cNvPr id="158" name="Rectangle 157">
            <a:extLst>
              <a:ext uri="{FF2B5EF4-FFF2-40B4-BE49-F238E27FC236}">
                <a16:creationId xmlns:a16="http://schemas.microsoft.com/office/drawing/2014/main" id="{499C51B1-ACFD-5042-5B4E-0EBEEA1F06DA}"/>
              </a:ext>
            </a:extLst>
          </p:cNvPr>
          <p:cNvSpPr/>
          <p:nvPr userDrawn="1"/>
        </p:nvSpPr>
        <p:spPr>
          <a:xfrm>
            <a:off x="4626297" y="5507597"/>
            <a:ext cx="1204350" cy="430887"/>
          </a:xfrm>
          <a:prstGeom prst="rect">
            <a:avLst/>
          </a:prstGeom>
          <a:noFill/>
        </p:spPr>
        <p:txBody>
          <a:bodyPr wrap="square" lIns="144000">
            <a:spAutoFit/>
          </a:bodyPr>
          <a:lstStyle/>
          <a:p>
            <a:pPr algn="l"/>
            <a:r>
              <a:rPr lang="en-US" sz="1100" dirty="0">
                <a:solidFill>
                  <a:srgbClr val="FFFFFF"/>
                </a:solidFill>
                <a:latin typeface="Century Gothic" panose="020B0502020202020204" pitchFamily="34" charset="0"/>
              </a:rPr>
              <a:t>Technology</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dvisory </a:t>
            </a:r>
            <a:endParaRPr lang="en-US" sz="1600" dirty="0"/>
          </a:p>
        </p:txBody>
      </p:sp>
      <p:sp>
        <p:nvSpPr>
          <p:cNvPr id="159" name="Rectangle 158">
            <a:extLst>
              <a:ext uri="{FF2B5EF4-FFF2-40B4-BE49-F238E27FC236}">
                <a16:creationId xmlns:a16="http://schemas.microsoft.com/office/drawing/2014/main" id="{59FD8900-5DCA-96FD-9942-1EFD9FF56786}"/>
              </a:ext>
            </a:extLst>
          </p:cNvPr>
          <p:cNvSpPr/>
          <p:nvPr userDrawn="1"/>
        </p:nvSpPr>
        <p:spPr>
          <a:xfrm>
            <a:off x="6997695" y="5507597"/>
            <a:ext cx="1201543" cy="430887"/>
          </a:xfrm>
          <a:prstGeom prst="rect">
            <a:avLst/>
          </a:prstGeom>
          <a:noFill/>
        </p:spPr>
        <p:txBody>
          <a:bodyPr wrap="square" lIns="144000">
            <a:spAutoFit/>
          </a:bodyPr>
          <a:lstStyle/>
          <a:p>
            <a:pPr algn="l"/>
            <a:r>
              <a:rPr lang="en-US" sz="1100" dirty="0">
                <a:solidFill>
                  <a:srgbClr val="FFFFFF"/>
                </a:solidFill>
                <a:latin typeface="Century Gothic" panose="020B0502020202020204" pitchFamily="34" charset="0"/>
              </a:rPr>
              <a:t>Systems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Integration </a:t>
            </a:r>
            <a:endParaRPr lang="en-US" sz="1600" dirty="0"/>
          </a:p>
        </p:txBody>
      </p:sp>
      <p:sp>
        <p:nvSpPr>
          <p:cNvPr id="160" name="Rectangle 159">
            <a:extLst>
              <a:ext uri="{FF2B5EF4-FFF2-40B4-BE49-F238E27FC236}">
                <a16:creationId xmlns:a16="http://schemas.microsoft.com/office/drawing/2014/main" id="{F2543DA5-DA8F-8540-1D55-B1378ACD51DA}"/>
              </a:ext>
            </a:extLst>
          </p:cNvPr>
          <p:cNvSpPr/>
          <p:nvPr userDrawn="1"/>
        </p:nvSpPr>
        <p:spPr>
          <a:xfrm>
            <a:off x="9190773" y="5507597"/>
            <a:ext cx="861308" cy="430887"/>
          </a:xfrm>
          <a:prstGeom prst="rect">
            <a:avLst/>
          </a:prstGeom>
          <a:noFill/>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ecurity</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Services</a:t>
            </a:r>
          </a:p>
        </p:txBody>
      </p:sp>
      <p:grpSp>
        <p:nvGrpSpPr>
          <p:cNvPr id="161" name="Group 160">
            <a:extLst>
              <a:ext uri="{FF2B5EF4-FFF2-40B4-BE49-F238E27FC236}">
                <a16:creationId xmlns:a16="http://schemas.microsoft.com/office/drawing/2014/main" id="{0BB0BABD-E6A2-2654-76B4-7C26B03F1832}"/>
              </a:ext>
              <a:ext uri="{C183D7F6-B498-43B3-948B-1728B52AA6E4}">
                <adec:decorative xmlns:adec="http://schemas.microsoft.com/office/drawing/2017/decorative" val="1"/>
              </a:ext>
            </a:extLst>
          </p:cNvPr>
          <p:cNvGrpSpPr/>
          <p:nvPr userDrawn="1"/>
        </p:nvGrpSpPr>
        <p:grpSpPr>
          <a:xfrm>
            <a:off x="670282" y="4296162"/>
            <a:ext cx="792000" cy="792000"/>
            <a:chOff x="616942" y="4046295"/>
            <a:chExt cx="792000" cy="792000"/>
          </a:xfrm>
        </p:grpSpPr>
        <p:sp>
          <p:nvSpPr>
            <p:cNvPr id="162" name="Oval 161">
              <a:extLst>
                <a:ext uri="{FF2B5EF4-FFF2-40B4-BE49-F238E27FC236}">
                  <a16:creationId xmlns:a16="http://schemas.microsoft.com/office/drawing/2014/main" id="{EBA9A2E9-87F3-2E93-5281-87F7632A5636}"/>
                </a:ext>
              </a:extLst>
            </p:cNvPr>
            <p:cNvSpPr/>
            <p:nvPr userDrawn="1"/>
          </p:nvSpPr>
          <p:spPr>
            <a:xfrm>
              <a:off x="616942" y="4046295"/>
              <a:ext cx="792000" cy="79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63" name="Graphic 9">
              <a:extLst>
                <a:ext uri="{FF2B5EF4-FFF2-40B4-BE49-F238E27FC236}">
                  <a16:creationId xmlns:a16="http://schemas.microsoft.com/office/drawing/2014/main" id="{7BF49959-E9F9-BAF5-87E5-3EFC2FB5B9A4}"/>
                </a:ext>
              </a:extLst>
            </p:cNvPr>
            <p:cNvGrpSpPr/>
            <p:nvPr userDrawn="1"/>
          </p:nvGrpSpPr>
          <p:grpSpPr>
            <a:xfrm>
              <a:off x="767323" y="4304367"/>
              <a:ext cx="491239" cy="275856"/>
              <a:chOff x="11621209" y="1849943"/>
              <a:chExt cx="603193" cy="338726"/>
            </a:xfrm>
            <a:noFill/>
          </p:grpSpPr>
          <p:grpSp>
            <p:nvGrpSpPr>
              <p:cNvPr id="164" name="Graphic 9">
                <a:extLst>
                  <a:ext uri="{FF2B5EF4-FFF2-40B4-BE49-F238E27FC236}">
                    <a16:creationId xmlns:a16="http://schemas.microsoft.com/office/drawing/2014/main" id="{8F9F3297-1DCF-751A-E003-F6C9067F5DA0}"/>
                  </a:ext>
                </a:extLst>
              </p:cNvPr>
              <p:cNvGrpSpPr/>
              <p:nvPr/>
            </p:nvGrpSpPr>
            <p:grpSpPr>
              <a:xfrm>
                <a:off x="11755527" y="1849943"/>
                <a:ext cx="325698" cy="338726"/>
                <a:chOff x="11755527" y="1849943"/>
                <a:chExt cx="325698" cy="338726"/>
              </a:xfrm>
              <a:noFill/>
            </p:grpSpPr>
            <p:sp>
              <p:nvSpPr>
                <p:cNvPr id="173" name="Freeform: Shape 352">
                  <a:extLst>
                    <a:ext uri="{FF2B5EF4-FFF2-40B4-BE49-F238E27FC236}">
                      <a16:creationId xmlns:a16="http://schemas.microsoft.com/office/drawing/2014/main" id="{2A93D96A-9E6A-22B5-9BB1-C0F0A4FF9F68}"/>
                    </a:ext>
                  </a:extLst>
                </p:cNvPr>
                <p:cNvSpPr/>
                <p:nvPr/>
              </p:nvSpPr>
              <p:spPr>
                <a:xfrm>
                  <a:off x="11770249" y="1849943"/>
                  <a:ext cx="312671" cy="338726"/>
                </a:xfrm>
                <a:custGeom>
                  <a:avLst/>
                  <a:gdLst>
                    <a:gd name="connsiteX0" fmla="*/ 315145 w 312670"/>
                    <a:gd name="connsiteY0" fmla="*/ 344850 h 338726"/>
                    <a:gd name="connsiteX1" fmla="*/ 315145 w 312670"/>
                    <a:gd name="connsiteY1" fmla="*/ 301206 h 338726"/>
                    <a:gd name="connsiteX2" fmla="*/ 300294 w 312670"/>
                    <a:gd name="connsiteY2" fmla="*/ 269809 h 338726"/>
                    <a:gd name="connsiteX3" fmla="*/ 211443 w 312670"/>
                    <a:gd name="connsiteY3" fmla="*/ 212225 h 338726"/>
                    <a:gd name="connsiteX4" fmla="*/ 211443 w 312670"/>
                    <a:gd name="connsiteY4" fmla="*/ 159723 h 338726"/>
                    <a:gd name="connsiteX5" fmla="*/ 224211 w 312670"/>
                    <a:gd name="connsiteY5" fmla="*/ 131061 h 338726"/>
                    <a:gd name="connsiteX6" fmla="*/ 224211 w 312670"/>
                    <a:gd name="connsiteY6" fmla="*/ 67224 h 338726"/>
                    <a:gd name="connsiteX7" fmla="*/ 156987 w 312670"/>
                    <a:gd name="connsiteY7" fmla="*/ 0 h 338726"/>
                    <a:gd name="connsiteX8" fmla="*/ 143307 w 312670"/>
                    <a:gd name="connsiteY8" fmla="*/ 0 h 338726"/>
                    <a:gd name="connsiteX9" fmla="*/ 76083 w 312670"/>
                    <a:gd name="connsiteY9" fmla="*/ 67224 h 338726"/>
                    <a:gd name="connsiteX10" fmla="*/ 76083 w 312670"/>
                    <a:gd name="connsiteY10" fmla="*/ 131061 h 338726"/>
                    <a:gd name="connsiteX11" fmla="*/ 88850 w 312670"/>
                    <a:gd name="connsiteY11" fmla="*/ 159723 h 338726"/>
                    <a:gd name="connsiteX12" fmla="*/ 88850 w 312670"/>
                    <a:gd name="connsiteY12" fmla="*/ 212225 h 338726"/>
                    <a:gd name="connsiteX13" fmla="*/ 0 w 312670"/>
                    <a:gd name="connsiteY13" fmla="*/ 269939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670" h="338726">
                      <a:moveTo>
                        <a:pt x="315145" y="344850"/>
                      </a:moveTo>
                      <a:lnTo>
                        <a:pt x="315145" y="301206"/>
                      </a:lnTo>
                      <a:cubicBezTo>
                        <a:pt x="315145" y="288960"/>
                        <a:pt x="309674" y="277495"/>
                        <a:pt x="300294" y="269809"/>
                      </a:cubicBezTo>
                      <a:cubicBezTo>
                        <a:pt x="264207" y="240105"/>
                        <a:pt x="225383" y="219391"/>
                        <a:pt x="211443" y="212225"/>
                      </a:cubicBezTo>
                      <a:lnTo>
                        <a:pt x="211443" y="159723"/>
                      </a:lnTo>
                      <a:cubicBezTo>
                        <a:pt x="219520" y="152427"/>
                        <a:pt x="224211" y="142135"/>
                        <a:pt x="224211" y="131061"/>
                      </a:cubicBezTo>
                      <a:lnTo>
                        <a:pt x="224211" y="67224"/>
                      </a:lnTo>
                      <a:cubicBezTo>
                        <a:pt x="224211" y="30095"/>
                        <a:pt x="193986" y="0"/>
                        <a:pt x="156987" y="0"/>
                      </a:cubicBezTo>
                      <a:lnTo>
                        <a:pt x="143307" y="0"/>
                      </a:lnTo>
                      <a:cubicBezTo>
                        <a:pt x="106178" y="0"/>
                        <a:pt x="76083" y="30225"/>
                        <a:pt x="76083" y="67224"/>
                      </a:cubicBezTo>
                      <a:lnTo>
                        <a:pt x="76083" y="131061"/>
                      </a:lnTo>
                      <a:cubicBezTo>
                        <a:pt x="76083" y="142135"/>
                        <a:pt x="80773" y="152427"/>
                        <a:pt x="88850" y="159723"/>
                      </a:cubicBezTo>
                      <a:lnTo>
                        <a:pt x="88850" y="212225"/>
                      </a:lnTo>
                      <a:cubicBezTo>
                        <a:pt x="74911" y="219391"/>
                        <a:pt x="36218" y="240235"/>
                        <a:pt x="0" y="269939"/>
                      </a:cubicBezTo>
                    </a:path>
                  </a:pathLst>
                </a:custGeom>
                <a:noFill/>
                <a:ln w="12700" cap="flat">
                  <a:solidFill>
                    <a:schemeClr val="bg1"/>
                  </a:solidFill>
                  <a:prstDash val="solid"/>
                  <a:round/>
                </a:ln>
              </p:spPr>
              <p:txBody>
                <a:bodyPr rtlCol="0" anchor="ctr"/>
                <a:lstStyle/>
                <a:p>
                  <a:endParaRPr lang="en-GB" sz="1600" dirty="0"/>
                </a:p>
              </p:txBody>
            </p:sp>
            <p:sp>
              <p:nvSpPr>
                <p:cNvPr id="174" name="Freeform: Shape 353">
                  <a:extLst>
                    <a:ext uri="{FF2B5EF4-FFF2-40B4-BE49-F238E27FC236}">
                      <a16:creationId xmlns:a16="http://schemas.microsoft.com/office/drawing/2014/main" id="{453A7E74-A067-2B20-A970-48F1F00E34E9}"/>
                    </a:ext>
                  </a:extLst>
                </p:cNvPr>
                <p:cNvSpPr/>
                <p:nvPr/>
              </p:nvSpPr>
              <p:spPr>
                <a:xfrm>
                  <a:off x="11755527" y="2119751"/>
                  <a:ext cx="13028" cy="65140"/>
                </a:xfrm>
                <a:custGeom>
                  <a:avLst/>
                  <a:gdLst>
                    <a:gd name="connsiteX0" fmla="*/ 14852 w 13027"/>
                    <a:gd name="connsiteY0" fmla="*/ 0 h 65139"/>
                    <a:gd name="connsiteX1" fmla="*/ 0 w 13027"/>
                    <a:gd name="connsiteY1" fmla="*/ 31397 h 65139"/>
                    <a:gd name="connsiteX2" fmla="*/ 0 w 13027"/>
                    <a:gd name="connsiteY2" fmla="*/ 75041 h 65139"/>
                  </a:gdLst>
                  <a:ahLst/>
                  <a:cxnLst>
                    <a:cxn ang="0">
                      <a:pos x="connsiteX0" y="connsiteY0"/>
                    </a:cxn>
                    <a:cxn ang="0">
                      <a:pos x="connsiteX1" y="connsiteY1"/>
                    </a:cxn>
                    <a:cxn ang="0">
                      <a:pos x="connsiteX2" y="connsiteY2"/>
                    </a:cxn>
                  </a:cxnLst>
                  <a:rect l="l" t="t" r="r" b="b"/>
                  <a:pathLst>
                    <a:path w="13027" h="65139">
                      <a:moveTo>
                        <a:pt x="14852" y="0"/>
                      </a:moveTo>
                      <a:cubicBezTo>
                        <a:pt x="5472" y="7686"/>
                        <a:pt x="0" y="19281"/>
                        <a:pt x="0" y="31397"/>
                      </a:cubicBezTo>
                      <a:lnTo>
                        <a:pt x="0" y="75041"/>
                      </a:lnTo>
                    </a:path>
                  </a:pathLst>
                </a:custGeom>
                <a:noFill/>
                <a:ln w="12700" cap="flat">
                  <a:solidFill>
                    <a:schemeClr val="bg1"/>
                  </a:solidFill>
                  <a:prstDash val="solid"/>
                  <a:round/>
                </a:ln>
              </p:spPr>
              <p:txBody>
                <a:bodyPr rtlCol="0" anchor="ctr"/>
                <a:lstStyle/>
                <a:p>
                  <a:endParaRPr lang="en-GB" sz="1600" dirty="0"/>
                </a:p>
              </p:txBody>
            </p:sp>
          </p:grpSp>
          <p:grpSp>
            <p:nvGrpSpPr>
              <p:cNvPr id="165" name="Graphic 9">
                <a:extLst>
                  <a:ext uri="{FF2B5EF4-FFF2-40B4-BE49-F238E27FC236}">
                    <a16:creationId xmlns:a16="http://schemas.microsoft.com/office/drawing/2014/main" id="{F3E1624B-69C6-1F4B-1EE9-2B30C2E4F6B0}"/>
                  </a:ext>
                </a:extLst>
              </p:cNvPr>
              <p:cNvGrpSpPr/>
              <p:nvPr/>
            </p:nvGrpSpPr>
            <p:grpSpPr>
              <a:xfrm>
                <a:off x="12094123" y="1897495"/>
                <a:ext cx="130279" cy="52112"/>
                <a:chOff x="12094123" y="1897495"/>
                <a:chExt cx="130279" cy="52112"/>
              </a:xfrm>
              <a:noFill/>
            </p:grpSpPr>
            <p:grpSp>
              <p:nvGrpSpPr>
                <p:cNvPr id="169" name="Graphic 9">
                  <a:extLst>
                    <a:ext uri="{FF2B5EF4-FFF2-40B4-BE49-F238E27FC236}">
                      <a16:creationId xmlns:a16="http://schemas.microsoft.com/office/drawing/2014/main" id="{489E48E9-23D4-BB6D-CC9B-16A5DB4FD875}"/>
                    </a:ext>
                  </a:extLst>
                </p:cNvPr>
                <p:cNvGrpSpPr/>
                <p:nvPr/>
              </p:nvGrpSpPr>
              <p:grpSpPr>
                <a:xfrm>
                  <a:off x="12094123" y="1897495"/>
                  <a:ext cx="130279" cy="52112"/>
                  <a:chOff x="12094123" y="1897495"/>
                  <a:chExt cx="130279" cy="52112"/>
                </a:xfrm>
              </p:grpSpPr>
              <p:sp>
                <p:nvSpPr>
                  <p:cNvPr id="171" name="Freeform: Shape 356">
                    <a:extLst>
                      <a:ext uri="{FF2B5EF4-FFF2-40B4-BE49-F238E27FC236}">
                        <a16:creationId xmlns:a16="http://schemas.microsoft.com/office/drawing/2014/main" id="{A0C05004-EED4-121A-ED7B-45D74C17C124}"/>
                      </a:ext>
                    </a:extLst>
                  </p:cNvPr>
                  <p:cNvSpPr/>
                  <p:nvPr/>
                </p:nvSpPr>
                <p:spPr>
                  <a:xfrm>
                    <a:off x="12094123" y="1897495"/>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dirty="0"/>
                  </a:p>
                </p:txBody>
              </p:sp>
              <p:sp>
                <p:nvSpPr>
                  <p:cNvPr id="172" name="Freeform: Shape 357">
                    <a:extLst>
                      <a:ext uri="{FF2B5EF4-FFF2-40B4-BE49-F238E27FC236}">
                        <a16:creationId xmlns:a16="http://schemas.microsoft.com/office/drawing/2014/main" id="{3A8C8737-A9F1-71BA-4E4A-60BFC5B7913E}"/>
                      </a:ext>
                    </a:extLst>
                  </p:cNvPr>
                  <p:cNvSpPr/>
                  <p:nvPr/>
                </p:nvSpPr>
                <p:spPr>
                  <a:xfrm>
                    <a:off x="12094123" y="1950909"/>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dirty="0"/>
                  </a:p>
                </p:txBody>
              </p:sp>
            </p:grpSp>
            <p:sp>
              <p:nvSpPr>
                <p:cNvPr id="170" name="Freeform: Shape 358">
                  <a:extLst>
                    <a:ext uri="{FF2B5EF4-FFF2-40B4-BE49-F238E27FC236}">
                      <a16:creationId xmlns:a16="http://schemas.microsoft.com/office/drawing/2014/main" id="{999BF37B-4411-40E3-84DE-E2D1306778DA}"/>
                    </a:ext>
                  </a:extLst>
                </p:cNvPr>
                <p:cNvSpPr/>
                <p:nvPr/>
              </p:nvSpPr>
              <p:spPr>
                <a:xfrm>
                  <a:off x="12040709" y="1838087"/>
                  <a:ext cx="234503" cy="195419"/>
                </a:xfrm>
                <a:custGeom>
                  <a:avLst/>
                  <a:gdLst>
                    <a:gd name="connsiteX0" fmla="*/ 237760 w 234502"/>
                    <a:gd name="connsiteY0" fmla="*/ 0 h 195419"/>
                    <a:gd name="connsiteX1" fmla="*/ 237760 w 234502"/>
                    <a:gd name="connsiteY1" fmla="*/ 167670 h 195419"/>
                    <a:gd name="connsiteX2" fmla="*/ 61753 w 234502"/>
                    <a:gd name="connsiteY2" fmla="*/ 167670 h 195419"/>
                    <a:gd name="connsiteX3" fmla="*/ 30095 w 234502"/>
                    <a:gd name="connsiteY3" fmla="*/ 203757 h 195419"/>
                    <a:gd name="connsiteX4" fmla="*/ 30095 w 234502"/>
                    <a:gd name="connsiteY4" fmla="*/ 167670 h 195419"/>
                    <a:gd name="connsiteX5" fmla="*/ 0 w 234502"/>
                    <a:gd name="connsiteY5" fmla="*/ 167670 h 195419"/>
                    <a:gd name="connsiteX6" fmla="*/ 0 w 234502"/>
                    <a:gd name="connsiteY6" fmla="*/ 0 h 1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502" h="195419">
                      <a:moveTo>
                        <a:pt x="237760" y="0"/>
                      </a:moveTo>
                      <a:lnTo>
                        <a:pt x="237760" y="167670"/>
                      </a:lnTo>
                      <a:lnTo>
                        <a:pt x="61753" y="167670"/>
                      </a:lnTo>
                      <a:lnTo>
                        <a:pt x="30095" y="203757"/>
                      </a:lnTo>
                      <a:lnTo>
                        <a:pt x="30095" y="167670"/>
                      </a:lnTo>
                      <a:lnTo>
                        <a:pt x="0" y="167670"/>
                      </a:lnTo>
                      <a:lnTo>
                        <a:pt x="0" y="0"/>
                      </a:lnTo>
                      <a:close/>
                    </a:path>
                  </a:pathLst>
                </a:custGeom>
                <a:noFill/>
                <a:ln w="12700" cap="rnd">
                  <a:solidFill>
                    <a:schemeClr val="bg1"/>
                  </a:solidFill>
                  <a:prstDash val="solid"/>
                  <a:round/>
                </a:ln>
              </p:spPr>
              <p:txBody>
                <a:bodyPr rtlCol="0" anchor="ctr"/>
                <a:lstStyle/>
                <a:p>
                  <a:endParaRPr lang="en-GB" sz="1600" dirty="0"/>
                </a:p>
              </p:txBody>
            </p:sp>
          </p:grpSp>
          <p:grpSp>
            <p:nvGrpSpPr>
              <p:cNvPr id="166" name="Graphic 9">
                <a:extLst>
                  <a:ext uri="{FF2B5EF4-FFF2-40B4-BE49-F238E27FC236}">
                    <a16:creationId xmlns:a16="http://schemas.microsoft.com/office/drawing/2014/main" id="{470F3305-F9B2-588A-51AD-5AC2D7298ABA}"/>
                  </a:ext>
                </a:extLst>
              </p:cNvPr>
              <p:cNvGrpSpPr/>
              <p:nvPr/>
            </p:nvGrpSpPr>
            <p:grpSpPr>
              <a:xfrm>
                <a:off x="11621209" y="1895801"/>
                <a:ext cx="195419" cy="273587"/>
                <a:chOff x="11621209" y="1895801"/>
                <a:chExt cx="195419" cy="273587"/>
              </a:xfrm>
              <a:noFill/>
            </p:grpSpPr>
            <p:sp>
              <p:nvSpPr>
                <p:cNvPr id="167" name="Freeform: Shape 360">
                  <a:extLst>
                    <a:ext uri="{FF2B5EF4-FFF2-40B4-BE49-F238E27FC236}">
                      <a16:creationId xmlns:a16="http://schemas.microsoft.com/office/drawing/2014/main" id="{3F54A01A-C0AD-1B04-158F-3EF8E90D24FA}"/>
                    </a:ext>
                  </a:extLst>
                </p:cNvPr>
                <p:cNvSpPr/>
                <p:nvPr/>
              </p:nvSpPr>
              <p:spPr>
                <a:xfrm>
                  <a:off x="11633586" y="1895801"/>
                  <a:ext cx="182391" cy="221475"/>
                </a:xfrm>
                <a:custGeom>
                  <a:avLst/>
                  <a:gdLst>
                    <a:gd name="connsiteX0" fmla="*/ 192032 w 182391"/>
                    <a:gd name="connsiteY0" fmla="*/ 184345 h 221474"/>
                    <a:gd name="connsiteX1" fmla="*/ 173532 w 182391"/>
                    <a:gd name="connsiteY1" fmla="*/ 174314 h 221474"/>
                    <a:gd name="connsiteX2" fmla="*/ 173532 w 182391"/>
                    <a:gd name="connsiteY2" fmla="*/ 131191 h 221474"/>
                    <a:gd name="connsiteX3" fmla="*/ 184085 w 182391"/>
                    <a:gd name="connsiteY3" fmla="*/ 107611 h 221474"/>
                    <a:gd name="connsiteX4" fmla="*/ 184085 w 182391"/>
                    <a:gd name="connsiteY4" fmla="*/ 55238 h 221474"/>
                    <a:gd name="connsiteX5" fmla="*/ 128847 w 182391"/>
                    <a:gd name="connsiteY5" fmla="*/ 0 h 221474"/>
                    <a:gd name="connsiteX6" fmla="*/ 117642 w 182391"/>
                    <a:gd name="connsiteY6" fmla="*/ 0 h 221474"/>
                    <a:gd name="connsiteX7" fmla="*/ 62404 w 182391"/>
                    <a:gd name="connsiteY7" fmla="*/ 55238 h 221474"/>
                    <a:gd name="connsiteX8" fmla="*/ 62404 w 182391"/>
                    <a:gd name="connsiteY8" fmla="*/ 107611 h 221474"/>
                    <a:gd name="connsiteX9" fmla="*/ 72957 w 182391"/>
                    <a:gd name="connsiteY9" fmla="*/ 131191 h 221474"/>
                    <a:gd name="connsiteX10" fmla="*/ 72957 w 182391"/>
                    <a:gd name="connsiteY10" fmla="*/ 174314 h 221474"/>
                    <a:gd name="connsiteX11" fmla="*/ 0 w 182391"/>
                    <a:gd name="connsiteY11" fmla="*/ 221736 h 22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91" h="221474">
                      <a:moveTo>
                        <a:pt x="192032" y="184345"/>
                      </a:moveTo>
                      <a:cubicBezTo>
                        <a:pt x="183954" y="179655"/>
                        <a:pt x="177440" y="176268"/>
                        <a:pt x="173532" y="174314"/>
                      </a:cubicBezTo>
                      <a:lnTo>
                        <a:pt x="173532" y="131191"/>
                      </a:lnTo>
                      <a:cubicBezTo>
                        <a:pt x="180177" y="125198"/>
                        <a:pt x="184085" y="116730"/>
                        <a:pt x="184085" y="107611"/>
                      </a:cubicBezTo>
                      <a:lnTo>
                        <a:pt x="184085" y="55238"/>
                      </a:lnTo>
                      <a:cubicBezTo>
                        <a:pt x="184085" y="24753"/>
                        <a:pt x="159332" y="0"/>
                        <a:pt x="128847" y="0"/>
                      </a:cubicBezTo>
                      <a:lnTo>
                        <a:pt x="117642" y="0"/>
                      </a:lnTo>
                      <a:cubicBezTo>
                        <a:pt x="87157" y="0"/>
                        <a:pt x="62404" y="24753"/>
                        <a:pt x="62404" y="55238"/>
                      </a:cubicBezTo>
                      <a:lnTo>
                        <a:pt x="62404" y="107611"/>
                      </a:lnTo>
                      <a:cubicBezTo>
                        <a:pt x="62404" y="116730"/>
                        <a:pt x="66312" y="125198"/>
                        <a:pt x="72957" y="131191"/>
                      </a:cubicBezTo>
                      <a:lnTo>
                        <a:pt x="72957" y="174314"/>
                      </a:lnTo>
                      <a:cubicBezTo>
                        <a:pt x="61492" y="180176"/>
                        <a:pt x="29704" y="197373"/>
                        <a:pt x="0" y="221736"/>
                      </a:cubicBezTo>
                    </a:path>
                  </a:pathLst>
                </a:custGeom>
                <a:noFill/>
                <a:ln w="12700" cap="flat">
                  <a:solidFill>
                    <a:schemeClr val="bg1"/>
                  </a:solidFill>
                  <a:prstDash val="solid"/>
                  <a:round/>
                </a:ln>
              </p:spPr>
              <p:txBody>
                <a:bodyPr rtlCol="0" anchor="ctr"/>
                <a:lstStyle/>
                <a:p>
                  <a:endParaRPr lang="en-GB" sz="1600" dirty="0"/>
                </a:p>
              </p:txBody>
            </p:sp>
            <p:sp>
              <p:nvSpPr>
                <p:cNvPr id="168" name="Freeform: Shape 361">
                  <a:extLst>
                    <a:ext uri="{FF2B5EF4-FFF2-40B4-BE49-F238E27FC236}">
                      <a16:creationId xmlns:a16="http://schemas.microsoft.com/office/drawing/2014/main" id="{9B80EA88-1018-35D1-08BE-B008AF5852DE}"/>
                    </a:ext>
                  </a:extLst>
                </p:cNvPr>
                <p:cNvSpPr/>
                <p:nvPr/>
              </p:nvSpPr>
              <p:spPr>
                <a:xfrm>
                  <a:off x="11621209" y="2117406"/>
                  <a:ext cx="13028" cy="52112"/>
                </a:xfrm>
                <a:custGeom>
                  <a:avLst/>
                  <a:gdLst>
                    <a:gd name="connsiteX0" fmla="*/ 12116 w 0"/>
                    <a:gd name="connsiteY0" fmla="*/ 0 h 52111"/>
                    <a:gd name="connsiteX1" fmla="*/ 0 w 0"/>
                    <a:gd name="connsiteY1" fmla="*/ 25795 h 52111"/>
                    <a:gd name="connsiteX2" fmla="*/ 0 w 0"/>
                    <a:gd name="connsiteY2" fmla="*/ 61622 h 52111"/>
                  </a:gdLst>
                  <a:ahLst/>
                  <a:cxnLst>
                    <a:cxn ang="0">
                      <a:pos x="connsiteX0" y="connsiteY0"/>
                    </a:cxn>
                    <a:cxn ang="0">
                      <a:pos x="connsiteX1" y="connsiteY1"/>
                    </a:cxn>
                    <a:cxn ang="0">
                      <a:pos x="connsiteX2" y="connsiteY2"/>
                    </a:cxn>
                  </a:cxnLst>
                  <a:rect l="l" t="t" r="r" b="b"/>
                  <a:pathLst>
                    <a:path h="52111">
                      <a:moveTo>
                        <a:pt x="12116" y="0"/>
                      </a:moveTo>
                      <a:cubicBezTo>
                        <a:pt x="4429" y="6253"/>
                        <a:pt x="0" y="15764"/>
                        <a:pt x="0" y="25795"/>
                      </a:cubicBezTo>
                      <a:lnTo>
                        <a:pt x="0" y="61622"/>
                      </a:lnTo>
                    </a:path>
                  </a:pathLst>
                </a:custGeom>
                <a:noFill/>
                <a:ln w="12700" cap="flat">
                  <a:solidFill>
                    <a:schemeClr val="bg1"/>
                  </a:solidFill>
                  <a:prstDash val="solid"/>
                  <a:round/>
                </a:ln>
              </p:spPr>
              <p:txBody>
                <a:bodyPr rtlCol="0" anchor="ctr"/>
                <a:lstStyle/>
                <a:p>
                  <a:endParaRPr lang="en-GB" sz="1600" dirty="0"/>
                </a:p>
              </p:txBody>
            </p:sp>
          </p:grpSp>
        </p:grpSp>
      </p:grpSp>
      <p:grpSp>
        <p:nvGrpSpPr>
          <p:cNvPr id="175" name="Group 174">
            <a:extLst>
              <a:ext uri="{FF2B5EF4-FFF2-40B4-BE49-F238E27FC236}">
                <a16:creationId xmlns:a16="http://schemas.microsoft.com/office/drawing/2014/main" id="{9A69DF41-B0F7-7FA6-F7E1-83FB47FF0397}"/>
              </a:ext>
              <a:ext uri="{C183D7F6-B498-43B3-948B-1728B52AA6E4}">
                <adec:decorative xmlns:adec="http://schemas.microsoft.com/office/drawing/2017/decorative" val="1"/>
              </a:ext>
            </a:extLst>
          </p:cNvPr>
          <p:cNvGrpSpPr/>
          <p:nvPr userDrawn="1"/>
        </p:nvGrpSpPr>
        <p:grpSpPr>
          <a:xfrm>
            <a:off x="9766229" y="4495759"/>
            <a:ext cx="404358" cy="392805"/>
            <a:chOff x="9871351" y="2517379"/>
            <a:chExt cx="463688" cy="450440"/>
          </a:xfrm>
        </p:grpSpPr>
        <p:sp>
          <p:nvSpPr>
            <p:cNvPr id="176" name="Freeform: Shape 190">
              <a:extLst>
                <a:ext uri="{FF2B5EF4-FFF2-40B4-BE49-F238E27FC236}">
                  <a16:creationId xmlns:a16="http://schemas.microsoft.com/office/drawing/2014/main" id="{91223F45-530C-7777-A721-0EB2DA3B5FF5}"/>
                </a:ext>
              </a:extLst>
            </p:cNvPr>
            <p:cNvSpPr/>
            <p:nvPr/>
          </p:nvSpPr>
          <p:spPr>
            <a:xfrm>
              <a:off x="10108097" y="2675961"/>
              <a:ext cx="13248" cy="158979"/>
            </a:xfrm>
            <a:custGeom>
              <a:avLst/>
              <a:gdLst>
                <a:gd name="connsiteX0" fmla="*/ 0 w 0"/>
                <a:gd name="connsiteY0" fmla="*/ 0 h 158978"/>
                <a:gd name="connsiteX1" fmla="*/ 0 w 0"/>
                <a:gd name="connsiteY1" fmla="*/ 163351 h 158978"/>
              </a:gdLst>
              <a:ahLst/>
              <a:cxnLst>
                <a:cxn ang="0">
                  <a:pos x="connsiteX0" y="connsiteY0"/>
                </a:cxn>
                <a:cxn ang="0">
                  <a:pos x="connsiteX1" y="connsiteY1"/>
                </a:cxn>
              </a:cxnLst>
              <a:rect l="l" t="t" r="r" b="b"/>
              <a:pathLst>
                <a:path h="158978">
                  <a:moveTo>
                    <a:pt x="0" y="0"/>
                  </a:moveTo>
                  <a:lnTo>
                    <a:pt x="0" y="163351"/>
                  </a:lnTo>
                </a:path>
              </a:pathLst>
            </a:custGeom>
            <a:ln w="12700" cap="rnd">
              <a:solidFill>
                <a:schemeClr val="bg1"/>
              </a:solidFill>
              <a:prstDash val="solid"/>
              <a:round/>
            </a:ln>
          </p:spPr>
          <p:txBody>
            <a:bodyPr rtlCol="0" anchor="ctr"/>
            <a:lstStyle/>
            <a:p>
              <a:endParaRPr lang="en-GB" sz="1600" dirty="0"/>
            </a:p>
          </p:txBody>
        </p:sp>
        <p:sp>
          <p:nvSpPr>
            <p:cNvPr id="177" name="Freeform: Shape 191">
              <a:extLst>
                <a:ext uri="{FF2B5EF4-FFF2-40B4-BE49-F238E27FC236}">
                  <a16:creationId xmlns:a16="http://schemas.microsoft.com/office/drawing/2014/main" id="{E56FB315-4470-57DD-D100-B635B08A6BD8}"/>
                </a:ext>
              </a:extLst>
            </p:cNvPr>
            <p:cNvSpPr/>
            <p:nvPr/>
          </p:nvSpPr>
          <p:spPr>
            <a:xfrm>
              <a:off x="10101605" y="2875214"/>
              <a:ext cx="13248" cy="13248"/>
            </a:xfrm>
            <a:custGeom>
              <a:avLst/>
              <a:gdLst>
                <a:gd name="connsiteX0" fmla="*/ 12984 w 0"/>
                <a:gd name="connsiteY0" fmla="*/ 6492 h 0"/>
                <a:gd name="connsiteX1" fmla="*/ 6492 w 0"/>
                <a:gd name="connsiteY1" fmla="*/ 12983 h 0"/>
                <a:gd name="connsiteX2" fmla="*/ 0 w 0"/>
                <a:gd name="connsiteY2" fmla="*/ 6492 h 0"/>
                <a:gd name="connsiteX3" fmla="*/ 6492 w 0"/>
                <a:gd name="connsiteY3" fmla="*/ 0 h 0"/>
                <a:gd name="connsiteX4" fmla="*/ 12984 w 0"/>
                <a:gd name="connsiteY4" fmla="*/ 649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984" y="6492"/>
                  </a:moveTo>
                  <a:cubicBezTo>
                    <a:pt x="12984" y="10077"/>
                    <a:pt x="10077" y="12983"/>
                    <a:pt x="6492" y="12983"/>
                  </a:cubicBezTo>
                  <a:cubicBezTo>
                    <a:pt x="2907" y="12983"/>
                    <a:pt x="0" y="10077"/>
                    <a:pt x="0" y="6492"/>
                  </a:cubicBezTo>
                  <a:cubicBezTo>
                    <a:pt x="0" y="2906"/>
                    <a:pt x="2907" y="0"/>
                    <a:pt x="6492" y="0"/>
                  </a:cubicBezTo>
                  <a:cubicBezTo>
                    <a:pt x="10077" y="0"/>
                    <a:pt x="12984" y="2906"/>
                    <a:pt x="12984" y="6492"/>
                  </a:cubicBezTo>
                  <a:close/>
                </a:path>
              </a:pathLst>
            </a:custGeom>
            <a:noFill/>
            <a:ln w="12700" cap="rnd">
              <a:solidFill>
                <a:schemeClr val="bg1"/>
              </a:solidFill>
              <a:prstDash val="solid"/>
              <a:round/>
            </a:ln>
          </p:spPr>
          <p:txBody>
            <a:bodyPr rtlCol="0" anchor="ctr"/>
            <a:lstStyle/>
            <a:p>
              <a:endParaRPr lang="en-GB" sz="1600" dirty="0"/>
            </a:p>
          </p:txBody>
        </p:sp>
        <p:sp>
          <p:nvSpPr>
            <p:cNvPr id="178" name="Freeform: Shape 192">
              <a:extLst>
                <a:ext uri="{FF2B5EF4-FFF2-40B4-BE49-F238E27FC236}">
                  <a16:creationId xmlns:a16="http://schemas.microsoft.com/office/drawing/2014/main" id="{DCBC0E48-8790-4401-68DB-C3B32689219D}"/>
                </a:ext>
              </a:extLst>
            </p:cNvPr>
            <p:cNvSpPr/>
            <p:nvPr/>
          </p:nvSpPr>
          <p:spPr>
            <a:xfrm>
              <a:off x="9871351" y="2517379"/>
              <a:ext cx="463688" cy="450440"/>
            </a:xfrm>
            <a:custGeom>
              <a:avLst/>
              <a:gdLst>
                <a:gd name="connsiteX0" fmla="*/ 0 w 463688"/>
                <a:gd name="connsiteY0" fmla="*/ 451235 h 450440"/>
                <a:gd name="connsiteX1" fmla="*/ 236747 w 463688"/>
                <a:gd name="connsiteY1" fmla="*/ 0 h 450440"/>
                <a:gd name="connsiteX2" fmla="*/ 473493 w 463688"/>
                <a:gd name="connsiteY2" fmla="*/ 451235 h 450440"/>
              </a:gdLst>
              <a:ahLst/>
              <a:cxnLst>
                <a:cxn ang="0">
                  <a:pos x="connsiteX0" y="connsiteY0"/>
                </a:cxn>
                <a:cxn ang="0">
                  <a:pos x="connsiteX1" y="connsiteY1"/>
                </a:cxn>
                <a:cxn ang="0">
                  <a:pos x="connsiteX2" y="connsiteY2"/>
                </a:cxn>
              </a:cxnLst>
              <a:rect l="l" t="t" r="r" b="b"/>
              <a:pathLst>
                <a:path w="463688" h="450440">
                  <a:moveTo>
                    <a:pt x="0" y="451235"/>
                  </a:moveTo>
                  <a:lnTo>
                    <a:pt x="236747" y="0"/>
                  </a:lnTo>
                  <a:lnTo>
                    <a:pt x="473493" y="451235"/>
                  </a:lnTo>
                  <a:close/>
                </a:path>
              </a:pathLst>
            </a:custGeom>
            <a:noFill/>
            <a:ln w="12700" cap="rnd">
              <a:solidFill>
                <a:schemeClr val="bg1"/>
              </a:solidFill>
              <a:prstDash val="solid"/>
              <a:round/>
            </a:ln>
          </p:spPr>
          <p:txBody>
            <a:bodyPr rtlCol="0" anchor="ctr"/>
            <a:lstStyle/>
            <a:p>
              <a:endParaRPr lang="en-GB" sz="1600" dirty="0"/>
            </a:p>
          </p:txBody>
        </p:sp>
      </p:grpSp>
      <p:grpSp>
        <p:nvGrpSpPr>
          <p:cNvPr id="179" name="Group 178">
            <a:extLst>
              <a:ext uri="{FF2B5EF4-FFF2-40B4-BE49-F238E27FC236}">
                <a16:creationId xmlns:a16="http://schemas.microsoft.com/office/drawing/2014/main" id="{0670C5D2-7E4C-BD78-7099-A627651B3EF1}"/>
              </a:ext>
              <a:ext uri="{C183D7F6-B498-43B3-948B-1728B52AA6E4}">
                <adec:decorative xmlns:adec="http://schemas.microsoft.com/office/drawing/2017/decorative" val="1"/>
              </a:ext>
            </a:extLst>
          </p:cNvPr>
          <p:cNvGrpSpPr/>
          <p:nvPr userDrawn="1"/>
        </p:nvGrpSpPr>
        <p:grpSpPr>
          <a:xfrm>
            <a:off x="5288197" y="4479341"/>
            <a:ext cx="463705" cy="425641"/>
            <a:chOff x="5717324" y="3934620"/>
            <a:chExt cx="526593" cy="483367"/>
          </a:xfrm>
        </p:grpSpPr>
        <p:grpSp>
          <p:nvGrpSpPr>
            <p:cNvPr id="180" name="Graphic 8">
              <a:extLst>
                <a:ext uri="{FF2B5EF4-FFF2-40B4-BE49-F238E27FC236}">
                  <a16:creationId xmlns:a16="http://schemas.microsoft.com/office/drawing/2014/main" id="{6CC857CE-C1C4-6BBD-3F48-BBFB54EEA15E}"/>
                </a:ext>
              </a:extLst>
            </p:cNvPr>
            <p:cNvGrpSpPr/>
            <p:nvPr/>
          </p:nvGrpSpPr>
          <p:grpSpPr>
            <a:xfrm>
              <a:off x="5717324" y="3934620"/>
              <a:ext cx="372882" cy="483367"/>
              <a:chOff x="670127" y="4633494"/>
              <a:chExt cx="427594" cy="554289"/>
            </a:xfrm>
            <a:noFill/>
          </p:grpSpPr>
          <p:sp>
            <p:nvSpPr>
              <p:cNvPr id="182" name="Freeform: Shape 541">
                <a:extLst>
                  <a:ext uri="{FF2B5EF4-FFF2-40B4-BE49-F238E27FC236}">
                    <a16:creationId xmlns:a16="http://schemas.microsoft.com/office/drawing/2014/main" id="{AF317B11-C99C-3A48-5F50-D5BF5F39557E}"/>
                  </a:ext>
                </a:extLst>
              </p:cNvPr>
              <p:cNvSpPr/>
              <p:nvPr/>
            </p:nvSpPr>
            <p:spPr>
              <a:xfrm>
                <a:off x="784311" y="4747677"/>
                <a:ext cx="269226" cy="332573"/>
              </a:xfrm>
              <a:custGeom>
                <a:avLst/>
                <a:gdLst>
                  <a:gd name="connsiteX0" fmla="*/ 278094 w 269225"/>
                  <a:gd name="connsiteY0" fmla="*/ 302325 h 332573"/>
                  <a:gd name="connsiteX1" fmla="*/ 170404 w 269225"/>
                  <a:gd name="connsiteY1" fmla="*/ 340650 h 332573"/>
                  <a:gd name="connsiteX2" fmla="*/ 0 w 269225"/>
                  <a:gd name="connsiteY2" fmla="*/ 170404 h 332573"/>
                  <a:gd name="connsiteX3" fmla="*/ 170404 w 269225"/>
                  <a:gd name="connsiteY3" fmla="*/ 0 h 332573"/>
                  <a:gd name="connsiteX4" fmla="*/ 265742 w 269225"/>
                  <a:gd name="connsiteY4" fmla="*/ 29140 h 332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5" h="332573">
                    <a:moveTo>
                      <a:pt x="278094" y="302325"/>
                    </a:moveTo>
                    <a:cubicBezTo>
                      <a:pt x="248796" y="326238"/>
                      <a:pt x="211263" y="340650"/>
                      <a:pt x="170404" y="340650"/>
                    </a:cubicBezTo>
                    <a:cubicBezTo>
                      <a:pt x="76333" y="340650"/>
                      <a:pt x="0" y="264316"/>
                      <a:pt x="0" y="170404"/>
                    </a:cubicBezTo>
                    <a:cubicBezTo>
                      <a:pt x="0" y="76175"/>
                      <a:pt x="76333" y="0"/>
                      <a:pt x="170404" y="0"/>
                    </a:cubicBezTo>
                    <a:cubicBezTo>
                      <a:pt x="205720" y="0"/>
                      <a:pt x="238502" y="10769"/>
                      <a:pt x="265742" y="29140"/>
                    </a:cubicBezTo>
                  </a:path>
                </a:pathLst>
              </a:custGeom>
              <a:noFill/>
              <a:ln w="12700" cap="rnd">
                <a:solidFill>
                  <a:schemeClr val="bg1"/>
                </a:solidFill>
                <a:prstDash val="solid"/>
                <a:round/>
              </a:ln>
            </p:spPr>
            <p:txBody>
              <a:bodyPr rtlCol="0" anchor="ctr"/>
              <a:lstStyle/>
              <a:p>
                <a:endParaRPr lang="en-GB" sz="1600" dirty="0"/>
              </a:p>
            </p:txBody>
          </p:sp>
          <p:sp>
            <p:nvSpPr>
              <p:cNvPr id="183" name="Freeform: Shape 542">
                <a:extLst>
                  <a:ext uri="{FF2B5EF4-FFF2-40B4-BE49-F238E27FC236}">
                    <a16:creationId xmlns:a16="http://schemas.microsoft.com/office/drawing/2014/main" id="{A7D4B995-9AF9-0EF0-B7A8-70570C1DBFAC}"/>
                  </a:ext>
                </a:extLst>
              </p:cNvPr>
              <p:cNvSpPr/>
              <p:nvPr/>
            </p:nvSpPr>
            <p:spPr>
              <a:xfrm>
                <a:off x="670127" y="4633494"/>
                <a:ext cx="427594" cy="554289"/>
              </a:xfrm>
              <a:custGeom>
                <a:avLst/>
                <a:gdLst>
                  <a:gd name="connsiteX0" fmla="*/ 422526 w 427593"/>
                  <a:gd name="connsiteY0" fmla="*/ 87102 h 554288"/>
                  <a:gd name="connsiteX1" fmla="*/ 327980 w 427593"/>
                  <a:gd name="connsiteY1" fmla="*/ 47510 h 554288"/>
                  <a:gd name="connsiteX2" fmla="*/ 327980 w 427593"/>
                  <a:gd name="connsiteY2" fmla="*/ 22647 h 554288"/>
                  <a:gd name="connsiteX3" fmla="*/ 305334 w 427593"/>
                  <a:gd name="connsiteY3" fmla="*/ 0 h 554288"/>
                  <a:gd name="connsiteX4" fmla="*/ 263525 w 427593"/>
                  <a:gd name="connsiteY4" fmla="*/ 0 h 554288"/>
                  <a:gd name="connsiteX5" fmla="*/ 240878 w 427593"/>
                  <a:gd name="connsiteY5" fmla="*/ 22647 h 554288"/>
                  <a:gd name="connsiteX6" fmla="*/ 240878 w 427593"/>
                  <a:gd name="connsiteY6" fmla="*/ 47510 h 554288"/>
                  <a:gd name="connsiteX7" fmla="*/ 157418 w 427593"/>
                  <a:gd name="connsiteY7" fmla="*/ 79659 h 554288"/>
                  <a:gd name="connsiteX8" fmla="*/ 139206 w 427593"/>
                  <a:gd name="connsiteY8" fmla="*/ 61447 h 554288"/>
                  <a:gd name="connsiteX9" fmla="*/ 107215 w 427593"/>
                  <a:gd name="connsiteY9" fmla="*/ 61447 h 554288"/>
                  <a:gd name="connsiteX10" fmla="*/ 77600 w 427593"/>
                  <a:gd name="connsiteY10" fmla="*/ 90903 h 554288"/>
                  <a:gd name="connsiteX11" fmla="*/ 77600 w 427593"/>
                  <a:gd name="connsiteY11" fmla="*/ 123052 h 554288"/>
                  <a:gd name="connsiteX12" fmla="*/ 92804 w 427593"/>
                  <a:gd name="connsiteY12" fmla="*/ 138256 h 554288"/>
                  <a:gd name="connsiteX13" fmla="*/ 47194 w 427593"/>
                  <a:gd name="connsiteY13" fmla="*/ 240878 h 554288"/>
                  <a:gd name="connsiteX14" fmla="*/ 22805 w 427593"/>
                  <a:gd name="connsiteY14" fmla="*/ 240878 h 554288"/>
                  <a:gd name="connsiteX15" fmla="*/ 0 w 427593"/>
                  <a:gd name="connsiteY15" fmla="*/ 263683 h 554288"/>
                  <a:gd name="connsiteX16" fmla="*/ 0 w 427593"/>
                  <a:gd name="connsiteY16" fmla="*/ 305334 h 554288"/>
                  <a:gd name="connsiteX17" fmla="*/ 22805 w 427593"/>
                  <a:gd name="connsiteY17" fmla="*/ 328139 h 554288"/>
                  <a:gd name="connsiteX18" fmla="*/ 47510 w 427593"/>
                  <a:gd name="connsiteY18" fmla="*/ 328139 h 554288"/>
                  <a:gd name="connsiteX19" fmla="*/ 87102 w 427593"/>
                  <a:gd name="connsiteY19" fmla="*/ 422685 h 554288"/>
                  <a:gd name="connsiteX20" fmla="*/ 70791 w 427593"/>
                  <a:gd name="connsiteY20" fmla="*/ 438838 h 554288"/>
                  <a:gd name="connsiteX21" fmla="*/ 70791 w 427593"/>
                  <a:gd name="connsiteY21" fmla="*/ 470987 h 554288"/>
                  <a:gd name="connsiteX22" fmla="*/ 100405 w 427593"/>
                  <a:gd name="connsiteY22" fmla="*/ 500602 h 554288"/>
                  <a:gd name="connsiteX23" fmla="*/ 132396 w 427593"/>
                  <a:gd name="connsiteY23" fmla="*/ 500602 h 554288"/>
                  <a:gd name="connsiteX24" fmla="*/ 149183 w 427593"/>
                  <a:gd name="connsiteY24" fmla="*/ 483815 h 554288"/>
                  <a:gd name="connsiteX25" fmla="*/ 241036 w 427593"/>
                  <a:gd name="connsiteY25" fmla="*/ 521506 h 554288"/>
                  <a:gd name="connsiteX26" fmla="*/ 241036 w 427593"/>
                  <a:gd name="connsiteY26" fmla="*/ 546370 h 554288"/>
                  <a:gd name="connsiteX27" fmla="*/ 263683 w 427593"/>
                  <a:gd name="connsiteY27" fmla="*/ 569017 h 554288"/>
                  <a:gd name="connsiteX28" fmla="*/ 305492 w 427593"/>
                  <a:gd name="connsiteY28" fmla="*/ 569017 h 554288"/>
                  <a:gd name="connsiteX29" fmla="*/ 328139 w 427593"/>
                  <a:gd name="connsiteY29" fmla="*/ 546370 h 554288"/>
                  <a:gd name="connsiteX30" fmla="*/ 328139 w 427593"/>
                  <a:gd name="connsiteY30" fmla="*/ 521506 h 554288"/>
                  <a:gd name="connsiteX31" fmla="*/ 430920 w 427593"/>
                  <a:gd name="connsiteY31" fmla="*/ 475896 h 55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7593" h="554288">
                    <a:moveTo>
                      <a:pt x="422526" y="87102"/>
                    </a:moveTo>
                    <a:cubicBezTo>
                      <a:pt x="394812" y="67623"/>
                      <a:pt x="362663" y="53845"/>
                      <a:pt x="327980" y="47510"/>
                    </a:cubicBezTo>
                    <a:lnTo>
                      <a:pt x="327980" y="22647"/>
                    </a:lnTo>
                    <a:cubicBezTo>
                      <a:pt x="327980" y="10136"/>
                      <a:pt x="317845" y="0"/>
                      <a:pt x="305334" y="0"/>
                    </a:cubicBezTo>
                    <a:lnTo>
                      <a:pt x="263525" y="0"/>
                    </a:lnTo>
                    <a:cubicBezTo>
                      <a:pt x="251013" y="0"/>
                      <a:pt x="240878" y="10136"/>
                      <a:pt x="240878" y="22647"/>
                    </a:cubicBezTo>
                    <a:lnTo>
                      <a:pt x="240878" y="47510"/>
                    </a:lnTo>
                    <a:cubicBezTo>
                      <a:pt x="210788" y="52895"/>
                      <a:pt x="182598" y="64139"/>
                      <a:pt x="157418" y="79659"/>
                    </a:cubicBezTo>
                    <a:lnTo>
                      <a:pt x="139206" y="61447"/>
                    </a:lnTo>
                    <a:cubicBezTo>
                      <a:pt x="130337" y="52420"/>
                      <a:pt x="116084" y="52420"/>
                      <a:pt x="107215" y="61447"/>
                    </a:cubicBezTo>
                    <a:lnTo>
                      <a:pt x="77600" y="90903"/>
                    </a:lnTo>
                    <a:cubicBezTo>
                      <a:pt x="68732" y="99930"/>
                      <a:pt x="68732" y="114184"/>
                      <a:pt x="77600" y="123052"/>
                    </a:cubicBezTo>
                    <a:lnTo>
                      <a:pt x="92804" y="138256"/>
                    </a:lnTo>
                    <a:cubicBezTo>
                      <a:pt x="70157" y="167870"/>
                      <a:pt x="54320" y="202711"/>
                      <a:pt x="47194" y="240878"/>
                    </a:cubicBezTo>
                    <a:lnTo>
                      <a:pt x="22805" y="240878"/>
                    </a:lnTo>
                    <a:cubicBezTo>
                      <a:pt x="10294" y="240878"/>
                      <a:pt x="0" y="251172"/>
                      <a:pt x="0" y="263683"/>
                    </a:cubicBezTo>
                    <a:lnTo>
                      <a:pt x="0" y="305334"/>
                    </a:lnTo>
                    <a:cubicBezTo>
                      <a:pt x="0" y="317845"/>
                      <a:pt x="10294" y="328139"/>
                      <a:pt x="22805" y="328139"/>
                    </a:cubicBezTo>
                    <a:lnTo>
                      <a:pt x="47510" y="328139"/>
                    </a:lnTo>
                    <a:cubicBezTo>
                      <a:pt x="53845" y="362821"/>
                      <a:pt x="67623" y="394812"/>
                      <a:pt x="87102" y="422685"/>
                    </a:cubicBezTo>
                    <a:lnTo>
                      <a:pt x="70791" y="438838"/>
                    </a:lnTo>
                    <a:cubicBezTo>
                      <a:pt x="61922" y="447865"/>
                      <a:pt x="61922" y="462118"/>
                      <a:pt x="70791" y="470987"/>
                    </a:cubicBezTo>
                    <a:lnTo>
                      <a:pt x="100405" y="500602"/>
                    </a:lnTo>
                    <a:cubicBezTo>
                      <a:pt x="109274" y="509470"/>
                      <a:pt x="123527" y="509470"/>
                      <a:pt x="132396" y="500602"/>
                    </a:cubicBezTo>
                    <a:lnTo>
                      <a:pt x="149183" y="483815"/>
                    </a:lnTo>
                    <a:cubicBezTo>
                      <a:pt x="176422" y="502502"/>
                      <a:pt x="207462" y="515330"/>
                      <a:pt x="241036" y="521506"/>
                    </a:cubicBezTo>
                    <a:lnTo>
                      <a:pt x="241036" y="546370"/>
                    </a:lnTo>
                    <a:cubicBezTo>
                      <a:pt x="241036" y="558881"/>
                      <a:pt x="251172" y="569017"/>
                      <a:pt x="263683" y="569017"/>
                    </a:cubicBezTo>
                    <a:lnTo>
                      <a:pt x="305492" y="569017"/>
                    </a:lnTo>
                    <a:cubicBezTo>
                      <a:pt x="318003" y="569017"/>
                      <a:pt x="328139" y="558881"/>
                      <a:pt x="328139" y="546370"/>
                    </a:cubicBezTo>
                    <a:lnTo>
                      <a:pt x="328139" y="521506"/>
                    </a:lnTo>
                    <a:cubicBezTo>
                      <a:pt x="366306" y="514696"/>
                      <a:pt x="401305" y="498701"/>
                      <a:pt x="430920" y="475896"/>
                    </a:cubicBezTo>
                  </a:path>
                </a:pathLst>
              </a:custGeom>
              <a:noFill/>
              <a:ln w="12700" cap="rnd">
                <a:solidFill>
                  <a:schemeClr val="bg1"/>
                </a:solidFill>
                <a:prstDash val="solid"/>
                <a:round/>
              </a:ln>
            </p:spPr>
            <p:txBody>
              <a:bodyPr rtlCol="0" anchor="ctr"/>
              <a:lstStyle/>
              <a:p>
                <a:endParaRPr lang="en-GB" sz="1600" dirty="0"/>
              </a:p>
            </p:txBody>
          </p:sp>
        </p:grpSp>
        <p:sp>
          <p:nvSpPr>
            <p:cNvPr id="181" name="Freeform: Shape 543">
              <a:extLst>
                <a:ext uri="{FF2B5EF4-FFF2-40B4-BE49-F238E27FC236}">
                  <a16:creationId xmlns:a16="http://schemas.microsoft.com/office/drawing/2014/main" id="{9FA2C457-8115-4237-CAC0-6D4F5F356DFA}"/>
                </a:ext>
              </a:extLst>
            </p:cNvPr>
            <p:cNvSpPr/>
            <p:nvPr/>
          </p:nvSpPr>
          <p:spPr>
            <a:xfrm>
              <a:off x="5967708" y="4088745"/>
              <a:ext cx="276209" cy="179537"/>
            </a:xfrm>
            <a:custGeom>
              <a:avLst/>
              <a:gdLst>
                <a:gd name="connsiteX0" fmla="*/ 0 w 316736"/>
                <a:gd name="connsiteY0" fmla="*/ 52262 h 205878"/>
                <a:gd name="connsiteX1" fmla="*/ 168504 w 316736"/>
                <a:gd name="connsiteY1" fmla="*/ 52262 h 205878"/>
                <a:gd name="connsiteX2" fmla="*/ 168504 w 316736"/>
                <a:gd name="connsiteY2" fmla="*/ 0 h 205878"/>
                <a:gd name="connsiteX3" fmla="*/ 248480 w 316736"/>
                <a:gd name="connsiteY3" fmla="*/ 53845 h 205878"/>
                <a:gd name="connsiteX4" fmla="*/ 328456 w 316736"/>
                <a:gd name="connsiteY4" fmla="*/ 107690 h 205878"/>
                <a:gd name="connsiteX5" fmla="*/ 248480 w 316736"/>
                <a:gd name="connsiteY5" fmla="*/ 161535 h 205878"/>
                <a:gd name="connsiteX6" fmla="*/ 168504 w 316736"/>
                <a:gd name="connsiteY6" fmla="*/ 215381 h 205878"/>
                <a:gd name="connsiteX7" fmla="*/ 168504 w 316736"/>
                <a:gd name="connsiteY7" fmla="*/ 163278 h 205878"/>
                <a:gd name="connsiteX8" fmla="*/ 0 w 316736"/>
                <a:gd name="connsiteY8" fmla="*/ 163278 h 20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736" h="205878">
                  <a:moveTo>
                    <a:pt x="0" y="52262"/>
                  </a:moveTo>
                  <a:lnTo>
                    <a:pt x="168504" y="52262"/>
                  </a:lnTo>
                  <a:lnTo>
                    <a:pt x="168504" y="0"/>
                  </a:lnTo>
                  <a:lnTo>
                    <a:pt x="248480" y="53845"/>
                  </a:lnTo>
                  <a:lnTo>
                    <a:pt x="328456" y="107690"/>
                  </a:lnTo>
                  <a:lnTo>
                    <a:pt x="248480" y="161535"/>
                  </a:lnTo>
                  <a:lnTo>
                    <a:pt x="168504" y="215381"/>
                  </a:lnTo>
                  <a:lnTo>
                    <a:pt x="168504" y="163278"/>
                  </a:lnTo>
                  <a:lnTo>
                    <a:pt x="0" y="163278"/>
                  </a:lnTo>
                </a:path>
              </a:pathLst>
            </a:custGeom>
            <a:noFill/>
            <a:ln w="12700" cap="rnd">
              <a:solidFill>
                <a:schemeClr val="bg1"/>
              </a:solidFill>
              <a:prstDash val="solid"/>
              <a:round/>
            </a:ln>
          </p:spPr>
          <p:txBody>
            <a:bodyPr rtlCol="0" anchor="ctr"/>
            <a:lstStyle/>
            <a:p>
              <a:endParaRPr lang="en-GB" sz="1600" dirty="0"/>
            </a:p>
          </p:txBody>
        </p:sp>
      </p:grpSp>
      <p:grpSp>
        <p:nvGrpSpPr>
          <p:cNvPr id="184" name="Group 183">
            <a:extLst>
              <a:ext uri="{FF2B5EF4-FFF2-40B4-BE49-F238E27FC236}">
                <a16:creationId xmlns:a16="http://schemas.microsoft.com/office/drawing/2014/main" id="{19FE5C15-3473-D0F6-D5E7-F5C773789CDE}"/>
              </a:ext>
              <a:ext uri="{C183D7F6-B498-43B3-948B-1728B52AA6E4}">
                <adec:decorative xmlns:adec="http://schemas.microsoft.com/office/drawing/2017/decorative" val="1"/>
              </a:ext>
            </a:extLst>
          </p:cNvPr>
          <p:cNvGrpSpPr/>
          <p:nvPr userDrawn="1"/>
        </p:nvGrpSpPr>
        <p:grpSpPr>
          <a:xfrm>
            <a:off x="7830716" y="4500118"/>
            <a:ext cx="488282" cy="384088"/>
            <a:chOff x="4963904" y="2379608"/>
            <a:chExt cx="635863" cy="500177"/>
          </a:xfrm>
        </p:grpSpPr>
        <p:sp>
          <p:nvSpPr>
            <p:cNvPr id="185" name="Freeform: Shape 128">
              <a:extLst>
                <a:ext uri="{FF2B5EF4-FFF2-40B4-BE49-F238E27FC236}">
                  <a16:creationId xmlns:a16="http://schemas.microsoft.com/office/drawing/2014/main" id="{DD90E1FB-FD21-D54F-EFE7-7E924285C4E1}"/>
                </a:ext>
              </a:extLst>
            </p:cNvPr>
            <p:cNvSpPr/>
            <p:nvPr/>
          </p:nvSpPr>
          <p:spPr>
            <a:xfrm>
              <a:off x="4963904" y="2379608"/>
              <a:ext cx="404842" cy="261189"/>
            </a:xfrm>
            <a:custGeom>
              <a:avLst/>
              <a:gdLst>
                <a:gd name="connsiteX0" fmla="*/ 0 w 295275"/>
                <a:gd name="connsiteY0" fmla="*/ 98108 h 190500"/>
                <a:gd name="connsiteX1" fmla="*/ 72771 w 295275"/>
                <a:gd name="connsiteY1" fmla="*/ 49054 h 190500"/>
                <a:gd name="connsiteX2" fmla="*/ 145542 w 295275"/>
                <a:gd name="connsiteY2" fmla="*/ 0 h 190500"/>
                <a:gd name="connsiteX3" fmla="*/ 145542 w 295275"/>
                <a:gd name="connsiteY3" fmla="*/ 47530 h 190500"/>
                <a:gd name="connsiteX4" fmla="*/ 298990 w 295275"/>
                <a:gd name="connsiteY4" fmla="*/ 47530 h 190500"/>
                <a:gd name="connsiteX5" fmla="*/ 298990 w 295275"/>
                <a:gd name="connsiteY5" fmla="*/ 148590 h 190500"/>
                <a:gd name="connsiteX6" fmla="*/ 145542 w 295275"/>
                <a:gd name="connsiteY6" fmla="*/ 148590 h 190500"/>
                <a:gd name="connsiteX7" fmla="*/ 145542 w 295275"/>
                <a:gd name="connsiteY7" fmla="*/ 196120 h 190500"/>
                <a:gd name="connsiteX8" fmla="*/ 72771 w 295275"/>
                <a:gd name="connsiteY8" fmla="*/ 14716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0" y="98108"/>
                  </a:moveTo>
                  <a:lnTo>
                    <a:pt x="72771" y="49054"/>
                  </a:lnTo>
                  <a:lnTo>
                    <a:pt x="145542" y="0"/>
                  </a:lnTo>
                  <a:lnTo>
                    <a:pt x="145542" y="47530"/>
                  </a:lnTo>
                  <a:lnTo>
                    <a:pt x="298990" y="47530"/>
                  </a:lnTo>
                  <a:lnTo>
                    <a:pt x="298990" y="148590"/>
                  </a:lnTo>
                  <a:lnTo>
                    <a:pt x="145542" y="148590"/>
                  </a:lnTo>
                  <a:lnTo>
                    <a:pt x="145542" y="196120"/>
                  </a:lnTo>
                  <a:lnTo>
                    <a:pt x="72771" y="147161"/>
                  </a:lnTo>
                  <a:close/>
                </a:path>
              </a:pathLst>
            </a:custGeom>
            <a:noFill/>
            <a:ln w="12700" cap="rnd">
              <a:solidFill>
                <a:schemeClr val="bg1"/>
              </a:solidFill>
              <a:prstDash val="solid"/>
              <a:round/>
            </a:ln>
          </p:spPr>
          <p:txBody>
            <a:bodyPr rtlCol="0" anchor="ctr"/>
            <a:lstStyle/>
            <a:p>
              <a:endParaRPr lang="en-GB" sz="1600" dirty="0"/>
            </a:p>
          </p:txBody>
        </p:sp>
        <p:sp>
          <p:nvSpPr>
            <p:cNvPr id="186" name="Freeform: Shape 129">
              <a:extLst>
                <a:ext uri="{FF2B5EF4-FFF2-40B4-BE49-F238E27FC236}">
                  <a16:creationId xmlns:a16="http://schemas.microsoft.com/office/drawing/2014/main" id="{EBD88AB7-4DED-72C0-59B1-681CCF888342}"/>
                </a:ext>
              </a:extLst>
            </p:cNvPr>
            <p:cNvSpPr/>
            <p:nvPr/>
          </p:nvSpPr>
          <p:spPr>
            <a:xfrm>
              <a:off x="5194925" y="2618596"/>
              <a:ext cx="404842" cy="261189"/>
            </a:xfrm>
            <a:custGeom>
              <a:avLst/>
              <a:gdLst>
                <a:gd name="connsiteX0" fmla="*/ 299085 w 295275"/>
                <a:gd name="connsiteY0" fmla="*/ 98108 h 190500"/>
                <a:gd name="connsiteX1" fmla="*/ 226314 w 295275"/>
                <a:gd name="connsiteY1" fmla="*/ 147161 h 190500"/>
                <a:gd name="connsiteX2" fmla="*/ 153543 w 295275"/>
                <a:gd name="connsiteY2" fmla="*/ 196215 h 190500"/>
                <a:gd name="connsiteX3" fmla="*/ 153543 w 295275"/>
                <a:gd name="connsiteY3" fmla="*/ 148590 h 190500"/>
                <a:gd name="connsiteX4" fmla="*/ 0 w 295275"/>
                <a:gd name="connsiteY4" fmla="*/ 148590 h 190500"/>
                <a:gd name="connsiteX5" fmla="*/ 0 w 295275"/>
                <a:gd name="connsiteY5" fmla="*/ 47625 h 190500"/>
                <a:gd name="connsiteX6" fmla="*/ 153543 w 295275"/>
                <a:gd name="connsiteY6" fmla="*/ 47625 h 190500"/>
                <a:gd name="connsiteX7" fmla="*/ 153543 w 295275"/>
                <a:gd name="connsiteY7" fmla="*/ 0 h 190500"/>
                <a:gd name="connsiteX8" fmla="*/ 226314 w 295275"/>
                <a:gd name="connsiteY8" fmla="*/ 49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299085" y="98108"/>
                  </a:moveTo>
                  <a:lnTo>
                    <a:pt x="226314" y="147161"/>
                  </a:lnTo>
                  <a:lnTo>
                    <a:pt x="153543" y="196215"/>
                  </a:lnTo>
                  <a:lnTo>
                    <a:pt x="153543" y="148590"/>
                  </a:lnTo>
                  <a:lnTo>
                    <a:pt x="0" y="148590"/>
                  </a:lnTo>
                  <a:lnTo>
                    <a:pt x="0" y="47625"/>
                  </a:lnTo>
                  <a:lnTo>
                    <a:pt x="153543" y="47625"/>
                  </a:lnTo>
                  <a:lnTo>
                    <a:pt x="153543" y="0"/>
                  </a:lnTo>
                  <a:lnTo>
                    <a:pt x="226314" y="49054"/>
                  </a:lnTo>
                  <a:close/>
                </a:path>
              </a:pathLst>
            </a:custGeom>
            <a:noFill/>
            <a:ln w="12700" cap="rnd">
              <a:solidFill>
                <a:schemeClr val="bg1"/>
              </a:solidFill>
              <a:prstDash val="solid"/>
              <a:round/>
            </a:ln>
          </p:spPr>
          <p:txBody>
            <a:bodyPr rtlCol="0" anchor="ctr"/>
            <a:lstStyle/>
            <a:p>
              <a:endParaRPr lang="en-GB" sz="1600" dirty="0"/>
            </a:p>
          </p:txBody>
        </p:sp>
      </p:grpSp>
      <p:grpSp>
        <p:nvGrpSpPr>
          <p:cNvPr id="187" name="Group 186">
            <a:extLst>
              <a:ext uri="{FF2B5EF4-FFF2-40B4-BE49-F238E27FC236}">
                <a16:creationId xmlns:a16="http://schemas.microsoft.com/office/drawing/2014/main" id="{2FA6577E-DA1C-AF78-8A35-580D71D217A4}"/>
              </a:ext>
              <a:ext uri="{C183D7F6-B498-43B3-948B-1728B52AA6E4}">
                <adec:decorative xmlns:adec="http://schemas.microsoft.com/office/drawing/2017/decorative" val="1"/>
              </a:ext>
            </a:extLst>
          </p:cNvPr>
          <p:cNvGrpSpPr/>
          <p:nvPr userDrawn="1"/>
        </p:nvGrpSpPr>
        <p:grpSpPr>
          <a:xfrm>
            <a:off x="3360987" y="4447730"/>
            <a:ext cx="476774" cy="488864"/>
            <a:chOff x="8647438" y="5393592"/>
            <a:chExt cx="681361" cy="698639"/>
          </a:xfrm>
        </p:grpSpPr>
        <p:sp>
          <p:nvSpPr>
            <p:cNvPr id="188" name="Freeform: Shape 525">
              <a:extLst>
                <a:ext uri="{FF2B5EF4-FFF2-40B4-BE49-F238E27FC236}">
                  <a16:creationId xmlns:a16="http://schemas.microsoft.com/office/drawing/2014/main" id="{1C30ECC8-1415-74C5-37DA-1160F8FDA4C4}"/>
                </a:ext>
              </a:extLst>
            </p:cNvPr>
            <p:cNvSpPr/>
            <p:nvPr/>
          </p:nvSpPr>
          <p:spPr>
            <a:xfrm>
              <a:off x="8852158" y="5393592"/>
              <a:ext cx="338726" cy="338726"/>
            </a:xfrm>
            <a:custGeom>
              <a:avLst/>
              <a:gdLst>
                <a:gd name="connsiteX0" fmla="*/ 55759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3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4 w 338726"/>
                <a:gd name="connsiteY18" fmla="*/ 226816 h 338726"/>
                <a:gd name="connsiteX19" fmla="*/ 342374 w 338726"/>
                <a:gd name="connsiteY19" fmla="*/ 171057 h 338726"/>
                <a:gd name="connsiteX20" fmla="*/ 286224 w 338726"/>
                <a:gd name="connsiteY20" fmla="*/ 114906 h 338726"/>
                <a:gd name="connsiteX21" fmla="*/ 283879 w 338726"/>
                <a:gd name="connsiteY21" fmla="*/ 105657 h 338726"/>
                <a:gd name="connsiteX22" fmla="*/ 290783 w 338726"/>
                <a:gd name="connsiteY22" fmla="*/ 98752 h 338726"/>
                <a:gd name="connsiteX23" fmla="*/ 308241 w 338726"/>
                <a:gd name="connsiteY23" fmla="*/ 88850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4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1 h 338726"/>
                <a:gd name="connsiteX33" fmla="*/ 88590 w 338726"/>
                <a:gd name="connsiteY33" fmla="*/ 34524 h 338726"/>
                <a:gd name="connsiteX34" fmla="*/ 33743 w 338726"/>
                <a:gd name="connsiteY34" fmla="*/ 34524 h 338726"/>
                <a:gd name="connsiteX35" fmla="*/ 33743 w 338726"/>
                <a:gd name="connsiteY35" fmla="*/ 89372 h 338726"/>
                <a:gd name="connsiteX36" fmla="*/ 51200 w 338726"/>
                <a:gd name="connsiteY36" fmla="*/ 99273 h 338726"/>
                <a:gd name="connsiteX37" fmla="*/ 58105 w 338726"/>
                <a:gd name="connsiteY37" fmla="*/ 106178 h 338726"/>
                <a:gd name="connsiteX38" fmla="*/ 55759 w 338726"/>
                <a:gd name="connsiteY38" fmla="*/ 115428 h 338726"/>
                <a:gd name="connsiteX39" fmla="*/ 0 w 338726"/>
                <a:gd name="connsiteY39" fmla="*/ 171187 h 338726"/>
                <a:gd name="connsiteX40" fmla="*/ 55759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59" y="226947"/>
                  </a:moveTo>
                  <a:cubicBezTo>
                    <a:pt x="58105" y="229292"/>
                    <a:pt x="61883" y="230334"/>
                    <a:pt x="65009" y="229292"/>
                  </a:cubicBezTo>
                  <a:cubicBezTo>
                    <a:pt x="68396" y="228640"/>
                    <a:pt x="71133" y="225904"/>
                    <a:pt x="71914" y="222387"/>
                  </a:cubicBezTo>
                  <a:cubicBezTo>
                    <a:pt x="73608" y="215873"/>
                    <a:pt x="76995" y="209750"/>
                    <a:pt x="81815" y="204929"/>
                  </a:cubicBezTo>
                  <a:cubicBezTo>
                    <a:pt x="96928" y="189817"/>
                    <a:pt x="121551" y="189817"/>
                    <a:pt x="136663" y="204929"/>
                  </a:cubicBezTo>
                  <a:cubicBezTo>
                    <a:pt x="151776" y="220042"/>
                    <a:pt x="152036" y="245056"/>
                    <a:pt x="137054" y="260038"/>
                  </a:cubicBezTo>
                  <a:cubicBezTo>
                    <a:pt x="132234" y="264858"/>
                    <a:pt x="126111" y="268245"/>
                    <a:pt x="119597" y="269939"/>
                  </a:cubicBezTo>
                  <a:cubicBezTo>
                    <a:pt x="116209" y="270590"/>
                    <a:pt x="113473" y="273326"/>
                    <a:pt x="112692" y="276844"/>
                  </a:cubicBezTo>
                  <a:cubicBezTo>
                    <a:pt x="112040" y="280231"/>
                    <a:pt x="112692" y="283749"/>
                    <a:pt x="115037" y="286093"/>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19" y="322832"/>
                    <a:pt x="308632" y="307720"/>
                  </a:cubicBezTo>
                  <a:cubicBezTo>
                    <a:pt x="323744" y="292607"/>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4" y="226816"/>
                  </a:cubicBezTo>
                  <a:lnTo>
                    <a:pt x="342374" y="171057"/>
                  </a:lnTo>
                  <a:lnTo>
                    <a:pt x="286224" y="114906"/>
                  </a:lnTo>
                  <a:cubicBezTo>
                    <a:pt x="283879" y="112561"/>
                    <a:pt x="283097" y="109044"/>
                    <a:pt x="283879" y="105657"/>
                  </a:cubicBezTo>
                  <a:cubicBezTo>
                    <a:pt x="284530" y="102269"/>
                    <a:pt x="287266" y="99533"/>
                    <a:pt x="290783" y="98752"/>
                  </a:cubicBezTo>
                  <a:cubicBezTo>
                    <a:pt x="297297" y="97058"/>
                    <a:pt x="303421" y="93671"/>
                    <a:pt x="308241" y="88850"/>
                  </a:cubicBezTo>
                  <a:cubicBezTo>
                    <a:pt x="323353" y="73738"/>
                    <a:pt x="322963" y="48724"/>
                    <a:pt x="307850" y="33742"/>
                  </a:cubicBezTo>
                  <a:cubicBezTo>
                    <a:pt x="292738" y="18630"/>
                    <a:pt x="268115" y="18630"/>
                    <a:pt x="253003" y="33742"/>
                  </a:cubicBezTo>
                  <a:cubicBezTo>
                    <a:pt x="248182" y="38563"/>
                    <a:pt x="244795" y="44686"/>
                    <a:pt x="243101" y="51200"/>
                  </a:cubicBezTo>
                  <a:cubicBezTo>
                    <a:pt x="242450" y="54587"/>
                    <a:pt x="239714" y="57323"/>
                    <a:pt x="236196" y="58104"/>
                  </a:cubicBezTo>
                  <a:cubicBezTo>
                    <a:pt x="233070" y="59147"/>
                    <a:pt x="229292" y="58104"/>
                    <a:pt x="226947" y="55760"/>
                  </a:cubicBezTo>
                  <a:lnTo>
                    <a:pt x="171187" y="0"/>
                  </a:lnTo>
                  <a:lnTo>
                    <a:pt x="114646" y="56541"/>
                  </a:lnTo>
                  <a:cubicBezTo>
                    <a:pt x="112301" y="58886"/>
                    <a:pt x="108783" y="59668"/>
                    <a:pt x="105396" y="58886"/>
                  </a:cubicBezTo>
                  <a:cubicBezTo>
                    <a:pt x="102009" y="58104"/>
                    <a:pt x="99273" y="55499"/>
                    <a:pt x="98491" y="51981"/>
                  </a:cubicBezTo>
                  <a:cubicBezTo>
                    <a:pt x="96798" y="45467"/>
                    <a:pt x="93410" y="39344"/>
                    <a:pt x="88590" y="34524"/>
                  </a:cubicBezTo>
                  <a:cubicBezTo>
                    <a:pt x="73478" y="19412"/>
                    <a:pt x="48855" y="19412"/>
                    <a:pt x="33743" y="34524"/>
                  </a:cubicBezTo>
                  <a:cubicBezTo>
                    <a:pt x="18630" y="49636"/>
                    <a:pt x="18630" y="74259"/>
                    <a:pt x="33743" y="89372"/>
                  </a:cubicBezTo>
                  <a:cubicBezTo>
                    <a:pt x="38563" y="94192"/>
                    <a:pt x="44686" y="97579"/>
                    <a:pt x="51200" y="99273"/>
                  </a:cubicBezTo>
                  <a:cubicBezTo>
                    <a:pt x="54587" y="99924"/>
                    <a:pt x="57323" y="102660"/>
                    <a:pt x="58105" y="106178"/>
                  </a:cubicBezTo>
                  <a:cubicBezTo>
                    <a:pt x="59147" y="109304"/>
                    <a:pt x="58105" y="113082"/>
                    <a:pt x="55759" y="115428"/>
                  </a:cubicBezTo>
                  <a:lnTo>
                    <a:pt x="0" y="171187"/>
                  </a:lnTo>
                  <a:lnTo>
                    <a:pt x="55759" y="226947"/>
                  </a:lnTo>
                  <a:close/>
                </a:path>
              </a:pathLst>
            </a:custGeom>
            <a:noFill/>
            <a:ln w="12700" cap="flat">
              <a:solidFill>
                <a:schemeClr val="bg1"/>
              </a:solidFill>
              <a:prstDash val="solid"/>
              <a:miter/>
            </a:ln>
          </p:spPr>
          <p:txBody>
            <a:bodyPr rtlCol="0" anchor="ctr"/>
            <a:lstStyle/>
            <a:p>
              <a:endParaRPr lang="en-GB" sz="1600" dirty="0"/>
            </a:p>
          </p:txBody>
        </p:sp>
        <p:grpSp>
          <p:nvGrpSpPr>
            <p:cNvPr id="189" name="Group 188">
              <a:extLst>
                <a:ext uri="{FF2B5EF4-FFF2-40B4-BE49-F238E27FC236}">
                  <a16:creationId xmlns:a16="http://schemas.microsoft.com/office/drawing/2014/main" id="{853CF2F8-044B-C485-4B69-0880D9EA1959}"/>
                </a:ext>
              </a:extLst>
            </p:cNvPr>
            <p:cNvGrpSpPr/>
            <p:nvPr/>
          </p:nvGrpSpPr>
          <p:grpSpPr>
            <a:xfrm>
              <a:off x="8647438" y="5753505"/>
              <a:ext cx="681361" cy="338726"/>
              <a:chOff x="8647438" y="5753505"/>
              <a:chExt cx="681361" cy="338726"/>
            </a:xfrm>
          </p:grpSpPr>
          <p:sp>
            <p:nvSpPr>
              <p:cNvPr id="190" name="Freeform: Shape 527">
                <a:extLst>
                  <a:ext uri="{FF2B5EF4-FFF2-40B4-BE49-F238E27FC236}">
                    <a16:creationId xmlns:a16="http://schemas.microsoft.com/office/drawing/2014/main" id="{948CFE3C-EA93-235E-BF28-69A8F32893AA}"/>
                  </a:ext>
                </a:extLst>
              </p:cNvPr>
              <p:cNvSpPr/>
              <p:nvPr/>
            </p:nvSpPr>
            <p:spPr>
              <a:xfrm>
                <a:off x="8647438" y="5753505"/>
                <a:ext cx="338726" cy="338726"/>
              </a:xfrm>
              <a:custGeom>
                <a:avLst/>
                <a:gdLst>
                  <a:gd name="connsiteX0" fmla="*/ 55760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4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5 w 338726"/>
                  <a:gd name="connsiteY18" fmla="*/ 226816 h 338726"/>
                  <a:gd name="connsiteX19" fmla="*/ 342374 w 338726"/>
                  <a:gd name="connsiteY19" fmla="*/ 171057 h 338726"/>
                  <a:gd name="connsiteX20" fmla="*/ 286224 w 338726"/>
                  <a:gd name="connsiteY20" fmla="*/ 114907 h 338726"/>
                  <a:gd name="connsiteX21" fmla="*/ 283879 w 338726"/>
                  <a:gd name="connsiteY21" fmla="*/ 105657 h 338726"/>
                  <a:gd name="connsiteX22" fmla="*/ 290783 w 338726"/>
                  <a:gd name="connsiteY22" fmla="*/ 98752 h 338726"/>
                  <a:gd name="connsiteX23" fmla="*/ 308241 w 338726"/>
                  <a:gd name="connsiteY23" fmla="*/ 88851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5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2 h 338726"/>
                  <a:gd name="connsiteX33" fmla="*/ 88590 w 338726"/>
                  <a:gd name="connsiteY33" fmla="*/ 34524 h 338726"/>
                  <a:gd name="connsiteX34" fmla="*/ 33742 w 338726"/>
                  <a:gd name="connsiteY34" fmla="*/ 34524 h 338726"/>
                  <a:gd name="connsiteX35" fmla="*/ 33742 w 338726"/>
                  <a:gd name="connsiteY35" fmla="*/ 89372 h 338726"/>
                  <a:gd name="connsiteX36" fmla="*/ 51200 w 338726"/>
                  <a:gd name="connsiteY36" fmla="*/ 99273 h 338726"/>
                  <a:gd name="connsiteX37" fmla="*/ 58105 w 338726"/>
                  <a:gd name="connsiteY37" fmla="*/ 106178 h 338726"/>
                  <a:gd name="connsiteX38" fmla="*/ 55760 w 338726"/>
                  <a:gd name="connsiteY38" fmla="*/ 115428 h 338726"/>
                  <a:gd name="connsiteX39" fmla="*/ 0 w 338726"/>
                  <a:gd name="connsiteY39" fmla="*/ 171187 h 338726"/>
                  <a:gd name="connsiteX40" fmla="*/ 55760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60" y="226947"/>
                    </a:moveTo>
                    <a:cubicBezTo>
                      <a:pt x="58105" y="229292"/>
                      <a:pt x="61883" y="230334"/>
                      <a:pt x="65009" y="229292"/>
                    </a:cubicBezTo>
                    <a:cubicBezTo>
                      <a:pt x="68397" y="228640"/>
                      <a:pt x="71133" y="225904"/>
                      <a:pt x="71914" y="222387"/>
                    </a:cubicBezTo>
                    <a:cubicBezTo>
                      <a:pt x="73608" y="215873"/>
                      <a:pt x="76995" y="209750"/>
                      <a:pt x="81815" y="204929"/>
                    </a:cubicBezTo>
                    <a:cubicBezTo>
                      <a:pt x="96928" y="189817"/>
                      <a:pt x="121551" y="189817"/>
                      <a:pt x="136663" y="204929"/>
                    </a:cubicBezTo>
                    <a:cubicBezTo>
                      <a:pt x="151775" y="220042"/>
                      <a:pt x="152036" y="245056"/>
                      <a:pt x="137054" y="260038"/>
                    </a:cubicBezTo>
                    <a:cubicBezTo>
                      <a:pt x="132233" y="264858"/>
                      <a:pt x="126111" y="268245"/>
                      <a:pt x="119597" y="269939"/>
                    </a:cubicBezTo>
                    <a:cubicBezTo>
                      <a:pt x="116209" y="270590"/>
                      <a:pt x="113473" y="273326"/>
                      <a:pt x="112692" y="276844"/>
                    </a:cubicBezTo>
                    <a:cubicBezTo>
                      <a:pt x="112040" y="280231"/>
                      <a:pt x="112692" y="283749"/>
                      <a:pt x="115037" y="286094"/>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20" y="322832"/>
                      <a:pt x="308632" y="307720"/>
                    </a:cubicBezTo>
                    <a:cubicBezTo>
                      <a:pt x="323744" y="292608"/>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5" y="226816"/>
                    </a:cubicBezTo>
                    <a:lnTo>
                      <a:pt x="342374" y="171057"/>
                    </a:lnTo>
                    <a:lnTo>
                      <a:pt x="286224" y="114907"/>
                    </a:lnTo>
                    <a:cubicBezTo>
                      <a:pt x="283879" y="112561"/>
                      <a:pt x="283097" y="109044"/>
                      <a:pt x="283879" y="105657"/>
                    </a:cubicBezTo>
                    <a:cubicBezTo>
                      <a:pt x="284530" y="102269"/>
                      <a:pt x="287266" y="99533"/>
                      <a:pt x="290783" y="98752"/>
                    </a:cubicBezTo>
                    <a:cubicBezTo>
                      <a:pt x="297297" y="97058"/>
                      <a:pt x="303421" y="93671"/>
                      <a:pt x="308241" y="88851"/>
                    </a:cubicBezTo>
                    <a:cubicBezTo>
                      <a:pt x="323353" y="73738"/>
                      <a:pt x="322963" y="48725"/>
                      <a:pt x="307850" y="33742"/>
                    </a:cubicBezTo>
                    <a:cubicBezTo>
                      <a:pt x="292738" y="18630"/>
                      <a:pt x="268115" y="18630"/>
                      <a:pt x="253003" y="33742"/>
                    </a:cubicBezTo>
                    <a:cubicBezTo>
                      <a:pt x="248182" y="38563"/>
                      <a:pt x="244795" y="44686"/>
                      <a:pt x="243101" y="51200"/>
                    </a:cubicBezTo>
                    <a:cubicBezTo>
                      <a:pt x="242450" y="54587"/>
                      <a:pt x="239714" y="57323"/>
                      <a:pt x="236196" y="58105"/>
                    </a:cubicBezTo>
                    <a:cubicBezTo>
                      <a:pt x="233070" y="59147"/>
                      <a:pt x="229292" y="58105"/>
                      <a:pt x="226947" y="55760"/>
                    </a:cubicBezTo>
                    <a:lnTo>
                      <a:pt x="171187" y="0"/>
                    </a:lnTo>
                    <a:lnTo>
                      <a:pt x="114646" y="56541"/>
                    </a:lnTo>
                    <a:cubicBezTo>
                      <a:pt x="112301" y="58886"/>
                      <a:pt x="108783" y="59668"/>
                      <a:pt x="105396" y="58886"/>
                    </a:cubicBezTo>
                    <a:cubicBezTo>
                      <a:pt x="102009" y="58235"/>
                      <a:pt x="99273" y="55499"/>
                      <a:pt x="98491" y="51982"/>
                    </a:cubicBezTo>
                    <a:cubicBezTo>
                      <a:pt x="96798" y="45468"/>
                      <a:pt x="93410" y="39344"/>
                      <a:pt x="88590" y="34524"/>
                    </a:cubicBezTo>
                    <a:cubicBezTo>
                      <a:pt x="73478" y="19412"/>
                      <a:pt x="48855" y="19412"/>
                      <a:pt x="33742" y="34524"/>
                    </a:cubicBezTo>
                    <a:cubicBezTo>
                      <a:pt x="18630" y="49636"/>
                      <a:pt x="18630" y="74259"/>
                      <a:pt x="33742" y="89372"/>
                    </a:cubicBezTo>
                    <a:cubicBezTo>
                      <a:pt x="38563" y="94192"/>
                      <a:pt x="44686" y="97579"/>
                      <a:pt x="51200" y="99273"/>
                    </a:cubicBezTo>
                    <a:cubicBezTo>
                      <a:pt x="54587" y="99924"/>
                      <a:pt x="57323" y="102660"/>
                      <a:pt x="58105" y="106178"/>
                    </a:cubicBezTo>
                    <a:cubicBezTo>
                      <a:pt x="59147" y="109304"/>
                      <a:pt x="58105" y="113083"/>
                      <a:pt x="55760" y="115428"/>
                    </a:cubicBezTo>
                    <a:lnTo>
                      <a:pt x="0" y="171187"/>
                    </a:lnTo>
                    <a:lnTo>
                      <a:pt x="55760" y="226947"/>
                    </a:lnTo>
                    <a:close/>
                  </a:path>
                </a:pathLst>
              </a:custGeom>
              <a:noFill/>
              <a:ln w="12700" cap="flat">
                <a:solidFill>
                  <a:schemeClr val="bg1"/>
                </a:solidFill>
                <a:prstDash val="solid"/>
                <a:miter/>
              </a:ln>
            </p:spPr>
            <p:txBody>
              <a:bodyPr rtlCol="0" anchor="ctr"/>
              <a:lstStyle/>
              <a:p>
                <a:endParaRPr lang="en-GB" sz="1600" dirty="0"/>
              </a:p>
            </p:txBody>
          </p:sp>
          <p:sp>
            <p:nvSpPr>
              <p:cNvPr id="191" name="Freeform: Shape 528">
                <a:extLst>
                  <a:ext uri="{FF2B5EF4-FFF2-40B4-BE49-F238E27FC236}">
                    <a16:creationId xmlns:a16="http://schemas.microsoft.com/office/drawing/2014/main" id="{3C6838F9-281B-6128-8F22-16ADF06D3307}"/>
                  </a:ext>
                </a:extLst>
              </p:cNvPr>
              <p:cNvSpPr/>
              <p:nvPr/>
            </p:nvSpPr>
            <p:spPr>
              <a:xfrm>
                <a:off x="8990073" y="5753505"/>
                <a:ext cx="338726" cy="338726"/>
              </a:xfrm>
              <a:custGeom>
                <a:avLst/>
                <a:gdLst>
                  <a:gd name="connsiteX0" fmla="*/ 115297 w 338726"/>
                  <a:gd name="connsiteY0" fmla="*/ 55760 h 338726"/>
                  <a:gd name="connsiteX1" fmla="*/ 112952 w 338726"/>
                  <a:gd name="connsiteY1" fmla="*/ 65009 h 338726"/>
                  <a:gd name="connsiteX2" fmla="*/ 119857 w 338726"/>
                  <a:gd name="connsiteY2" fmla="*/ 71914 h 338726"/>
                  <a:gd name="connsiteX3" fmla="*/ 137315 w 338726"/>
                  <a:gd name="connsiteY3" fmla="*/ 81815 h 338726"/>
                  <a:gd name="connsiteX4" fmla="*/ 137315 w 338726"/>
                  <a:gd name="connsiteY4" fmla="*/ 136663 h 338726"/>
                  <a:gd name="connsiteX5" fmla="*/ 82206 w 338726"/>
                  <a:gd name="connsiteY5" fmla="*/ 137054 h 338726"/>
                  <a:gd name="connsiteX6" fmla="*/ 72305 w 338726"/>
                  <a:gd name="connsiteY6" fmla="*/ 119597 h 338726"/>
                  <a:gd name="connsiteX7" fmla="*/ 65400 w 338726"/>
                  <a:gd name="connsiteY7" fmla="*/ 112692 h 338726"/>
                  <a:gd name="connsiteX8" fmla="*/ 56150 w 338726"/>
                  <a:gd name="connsiteY8" fmla="*/ 115037 h 338726"/>
                  <a:gd name="connsiteX9" fmla="*/ 0 w 338726"/>
                  <a:gd name="connsiteY9" fmla="*/ 171187 h 338726"/>
                  <a:gd name="connsiteX10" fmla="*/ 56541 w 338726"/>
                  <a:gd name="connsiteY10" fmla="*/ 227728 h 338726"/>
                  <a:gd name="connsiteX11" fmla="*/ 58886 w 338726"/>
                  <a:gd name="connsiteY11" fmla="*/ 236978 h 338726"/>
                  <a:gd name="connsiteX12" fmla="*/ 51981 w 338726"/>
                  <a:gd name="connsiteY12" fmla="*/ 243883 h 338726"/>
                  <a:gd name="connsiteX13" fmla="*/ 34524 w 338726"/>
                  <a:gd name="connsiteY13" fmla="*/ 253784 h 338726"/>
                  <a:gd name="connsiteX14" fmla="*/ 34524 w 338726"/>
                  <a:gd name="connsiteY14" fmla="*/ 308632 h 338726"/>
                  <a:gd name="connsiteX15" fmla="*/ 89371 w 338726"/>
                  <a:gd name="connsiteY15" fmla="*/ 308632 h 338726"/>
                  <a:gd name="connsiteX16" fmla="*/ 99273 w 338726"/>
                  <a:gd name="connsiteY16" fmla="*/ 291175 h 338726"/>
                  <a:gd name="connsiteX17" fmla="*/ 106178 w 338726"/>
                  <a:gd name="connsiteY17" fmla="*/ 284270 h 338726"/>
                  <a:gd name="connsiteX18" fmla="*/ 115427 w 338726"/>
                  <a:gd name="connsiteY18" fmla="*/ 286615 h 338726"/>
                  <a:gd name="connsiteX19" fmla="*/ 171187 w 338726"/>
                  <a:gd name="connsiteY19" fmla="*/ 342374 h 338726"/>
                  <a:gd name="connsiteX20" fmla="*/ 227338 w 338726"/>
                  <a:gd name="connsiteY20" fmla="*/ 286224 h 338726"/>
                  <a:gd name="connsiteX21" fmla="*/ 236587 w 338726"/>
                  <a:gd name="connsiteY21" fmla="*/ 283879 h 338726"/>
                  <a:gd name="connsiteX22" fmla="*/ 243492 w 338726"/>
                  <a:gd name="connsiteY22" fmla="*/ 290784 h 338726"/>
                  <a:gd name="connsiteX23" fmla="*/ 253394 w 338726"/>
                  <a:gd name="connsiteY23" fmla="*/ 308241 h 338726"/>
                  <a:gd name="connsiteX24" fmla="*/ 308501 w 338726"/>
                  <a:gd name="connsiteY24" fmla="*/ 307850 h 338726"/>
                  <a:gd name="connsiteX25" fmla="*/ 308501 w 338726"/>
                  <a:gd name="connsiteY25" fmla="*/ 253003 h 338726"/>
                  <a:gd name="connsiteX26" fmla="*/ 291044 w 338726"/>
                  <a:gd name="connsiteY26" fmla="*/ 243101 h 338726"/>
                  <a:gd name="connsiteX27" fmla="*/ 284139 w 338726"/>
                  <a:gd name="connsiteY27" fmla="*/ 236197 h 338726"/>
                  <a:gd name="connsiteX28" fmla="*/ 286484 w 338726"/>
                  <a:gd name="connsiteY28" fmla="*/ 226947 h 338726"/>
                  <a:gd name="connsiteX29" fmla="*/ 342244 w 338726"/>
                  <a:gd name="connsiteY29" fmla="*/ 171187 h 338726"/>
                  <a:gd name="connsiteX30" fmla="*/ 285703 w 338726"/>
                  <a:gd name="connsiteY30" fmla="*/ 114646 h 338726"/>
                  <a:gd name="connsiteX31" fmla="*/ 283358 w 338726"/>
                  <a:gd name="connsiteY31" fmla="*/ 105396 h 338726"/>
                  <a:gd name="connsiteX32" fmla="*/ 290262 w 338726"/>
                  <a:gd name="connsiteY32" fmla="*/ 98491 h 338726"/>
                  <a:gd name="connsiteX33" fmla="*/ 307720 w 338726"/>
                  <a:gd name="connsiteY33" fmla="*/ 88590 h 338726"/>
                  <a:gd name="connsiteX34" fmla="*/ 307720 w 338726"/>
                  <a:gd name="connsiteY34" fmla="*/ 33742 h 338726"/>
                  <a:gd name="connsiteX35" fmla="*/ 252872 w 338726"/>
                  <a:gd name="connsiteY35" fmla="*/ 33742 h 338726"/>
                  <a:gd name="connsiteX36" fmla="*/ 242971 w 338726"/>
                  <a:gd name="connsiteY36" fmla="*/ 51200 h 338726"/>
                  <a:gd name="connsiteX37" fmla="*/ 236066 w 338726"/>
                  <a:gd name="connsiteY37" fmla="*/ 58105 h 338726"/>
                  <a:gd name="connsiteX38" fmla="*/ 226816 w 338726"/>
                  <a:gd name="connsiteY38" fmla="*/ 55760 h 338726"/>
                  <a:gd name="connsiteX39" fmla="*/ 171057 w 338726"/>
                  <a:gd name="connsiteY39" fmla="*/ 0 h 338726"/>
                  <a:gd name="connsiteX40" fmla="*/ 115297 w 338726"/>
                  <a:gd name="connsiteY40" fmla="*/ 55760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115297" y="55760"/>
                    </a:moveTo>
                    <a:cubicBezTo>
                      <a:pt x="112952" y="58105"/>
                      <a:pt x="111910" y="61883"/>
                      <a:pt x="112952" y="65009"/>
                    </a:cubicBezTo>
                    <a:cubicBezTo>
                      <a:pt x="113604" y="68397"/>
                      <a:pt x="116339" y="71133"/>
                      <a:pt x="119857" y="71914"/>
                    </a:cubicBezTo>
                    <a:cubicBezTo>
                      <a:pt x="126371" y="73608"/>
                      <a:pt x="132494" y="76995"/>
                      <a:pt x="137315" y="81815"/>
                    </a:cubicBezTo>
                    <a:cubicBezTo>
                      <a:pt x="152427" y="96928"/>
                      <a:pt x="152427" y="121551"/>
                      <a:pt x="137315" y="136663"/>
                    </a:cubicBezTo>
                    <a:cubicBezTo>
                      <a:pt x="122202" y="151775"/>
                      <a:pt x="97188" y="152036"/>
                      <a:pt x="82206" y="137054"/>
                    </a:cubicBezTo>
                    <a:cubicBezTo>
                      <a:pt x="77386" y="132234"/>
                      <a:pt x="73999" y="126111"/>
                      <a:pt x="72305" y="119597"/>
                    </a:cubicBezTo>
                    <a:cubicBezTo>
                      <a:pt x="71654" y="116209"/>
                      <a:pt x="68918" y="113473"/>
                      <a:pt x="65400" y="112692"/>
                    </a:cubicBezTo>
                    <a:cubicBezTo>
                      <a:pt x="62013" y="112040"/>
                      <a:pt x="58495" y="112692"/>
                      <a:pt x="56150" y="115037"/>
                    </a:cubicBezTo>
                    <a:lnTo>
                      <a:pt x="0" y="171187"/>
                    </a:lnTo>
                    <a:lnTo>
                      <a:pt x="56541" y="227728"/>
                    </a:lnTo>
                    <a:cubicBezTo>
                      <a:pt x="58886" y="230073"/>
                      <a:pt x="59668" y="233591"/>
                      <a:pt x="58886" y="236978"/>
                    </a:cubicBezTo>
                    <a:cubicBezTo>
                      <a:pt x="58235" y="240365"/>
                      <a:pt x="55499" y="243101"/>
                      <a:pt x="51981" y="243883"/>
                    </a:cubicBezTo>
                    <a:cubicBezTo>
                      <a:pt x="45467" y="245577"/>
                      <a:pt x="39344" y="248964"/>
                      <a:pt x="34524" y="253784"/>
                    </a:cubicBezTo>
                    <a:cubicBezTo>
                      <a:pt x="19412" y="268897"/>
                      <a:pt x="19412" y="293519"/>
                      <a:pt x="34524" y="308632"/>
                    </a:cubicBezTo>
                    <a:cubicBezTo>
                      <a:pt x="49636" y="323744"/>
                      <a:pt x="74259" y="323744"/>
                      <a:pt x="89371" y="308632"/>
                    </a:cubicBezTo>
                    <a:cubicBezTo>
                      <a:pt x="94192" y="303812"/>
                      <a:pt x="97579" y="297688"/>
                      <a:pt x="99273" y="291175"/>
                    </a:cubicBezTo>
                    <a:cubicBezTo>
                      <a:pt x="99924" y="287787"/>
                      <a:pt x="102660" y="285051"/>
                      <a:pt x="106178" y="284270"/>
                    </a:cubicBezTo>
                    <a:cubicBezTo>
                      <a:pt x="109304" y="283227"/>
                      <a:pt x="113082" y="284270"/>
                      <a:pt x="115427" y="286615"/>
                    </a:cubicBezTo>
                    <a:lnTo>
                      <a:pt x="171187" y="342374"/>
                    </a:lnTo>
                    <a:lnTo>
                      <a:pt x="227338" y="286224"/>
                    </a:lnTo>
                    <a:cubicBezTo>
                      <a:pt x="229683" y="283879"/>
                      <a:pt x="233200" y="283097"/>
                      <a:pt x="236587" y="283879"/>
                    </a:cubicBezTo>
                    <a:cubicBezTo>
                      <a:pt x="239974" y="284530"/>
                      <a:pt x="242711" y="287266"/>
                      <a:pt x="243492" y="290784"/>
                    </a:cubicBezTo>
                    <a:cubicBezTo>
                      <a:pt x="245186" y="297298"/>
                      <a:pt x="248573" y="303421"/>
                      <a:pt x="253394" y="308241"/>
                    </a:cubicBezTo>
                    <a:cubicBezTo>
                      <a:pt x="268506" y="323354"/>
                      <a:pt x="293519" y="322963"/>
                      <a:pt x="308501" y="307850"/>
                    </a:cubicBezTo>
                    <a:cubicBezTo>
                      <a:pt x="323614" y="292738"/>
                      <a:pt x="323614" y="268115"/>
                      <a:pt x="308501" y="253003"/>
                    </a:cubicBezTo>
                    <a:cubicBezTo>
                      <a:pt x="303681" y="248182"/>
                      <a:pt x="297558" y="244795"/>
                      <a:pt x="291044" y="243101"/>
                    </a:cubicBezTo>
                    <a:cubicBezTo>
                      <a:pt x="287657" y="242450"/>
                      <a:pt x="284921" y="239714"/>
                      <a:pt x="284139" y="236197"/>
                    </a:cubicBezTo>
                    <a:cubicBezTo>
                      <a:pt x="283097" y="233070"/>
                      <a:pt x="284139" y="229292"/>
                      <a:pt x="286484" y="226947"/>
                    </a:cubicBezTo>
                    <a:lnTo>
                      <a:pt x="342244" y="171187"/>
                    </a:lnTo>
                    <a:lnTo>
                      <a:pt x="285703" y="114646"/>
                    </a:lnTo>
                    <a:cubicBezTo>
                      <a:pt x="283358" y="112301"/>
                      <a:pt x="282576" y="108783"/>
                      <a:pt x="283358" y="105396"/>
                    </a:cubicBezTo>
                    <a:cubicBezTo>
                      <a:pt x="284009" y="102009"/>
                      <a:pt x="286745" y="99273"/>
                      <a:pt x="290262" y="98491"/>
                    </a:cubicBezTo>
                    <a:cubicBezTo>
                      <a:pt x="296776" y="96798"/>
                      <a:pt x="302900" y="93410"/>
                      <a:pt x="307720" y="88590"/>
                    </a:cubicBezTo>
                    <a:cubicBezTo>
                      <a:pt x="322832" y="73478"/>
                      <a:pt x="322832" y="48855"/>
                      <a:pt x="307720" y="33742"/>
                    </a:cubicBezTo>
                    <a:cubicBezTo>
                      <a:pt x="292607" y="18630"/>
                      <a:pt x="267985" y="18630"/>
                      <a:pt x="252872" y="33742"/>
                    </a:cubicBezTo>
                    <a:cubicBezTo>
                      <a:pt x="248052" y="38563"/>
                      <a:pt x="244665" y="44686"/>
                      <a:pt x="242971" y="51200"/>
                    </a:cubicBezTo>
                    <a:cubicBezTo>
                      <a:pt x="242320" y="54587"/>
                      <a:pt x="239584" y="57323"/>
                      <a:pt x="236066" y="58105"/>
                    </a:cubicBezTo>
                    <a:cubicBezTo>
                      <a:pt x="232940" y="59147"/>
                      <a:pt x="229161" y="58105"/>
                      <a:pt x="226816" y="55760"/>
                    </a:cubicBezTo>
                    <a:lnTo>
                      <a:pt x="171057" y="0"/>
                    </a:lnTo>
                    <a:lnTo>
                      <a:pt x="115297" y="55760"/>
                    </a:lnTo>
                    <a:close/>
                  </a:path>
                </a:pathLst>
              </a:custGeom>
              <a:noFill/>
              <a:ln w="12700" cap="flat">
                <a:solidFill>
                  <a:schemeClr val="bg1"/>
                </a:solidFill>
                <a:prstDash val="solid"/>
                <a:miter/>
              </a:ln>
            </p:spPr>
            <p:txBody>
              <a:bodyPr rtlCol="0" anchor="ctr"/>
              <a:lstStyle/>
              <a:p>
                <a:endParaRPr lang="en-GB" sz="1600" dirty="0"/>
              </a:p>
            </p:txBody>
          </p:sp>
        </p:grpSp>
      </p:grpSp>
      <p:grpSp>
        <p:nvGrpSpPr>
          <p:cNvPr id="192" name="Group 191">
            <a:extLst>
              <a:ext uri="{FF2B5EF4-FFF2-40B4-BE49-F238E27FC236}">
                <a16:creationId xmlns:a16="http://schemas.microsoft.com/office/drawing/2014/main" id="{667B90F5-C273-5470-AFCA-7677E35282D3}"/>
              </a:ext>
              <a:ext uri="{C183D7F6-B498-43B3-948B-1728B52AA6E4}">
                <adec:decorative xmlns:adec="http://schemas.microsoft.com/office/drawing/2017/decorative" val="1"/>
              </a:ext>
            </a:extLst>
          </p:cNvPr>
          <p:cNvGrpSpPr/>
          <p:nvPr userDrawn="1"/>
        </p:nvGrpSpPr>
        <p:grpSpPr>
          <a:xfrm>
            <a:off x="4193487" y="5504688"/>
            <a:ext cx="444337" cy="436705"/>
            <a:chOff x="4105453" y="1314571"/>
            <a:chExt cx="578417" cy="568482"/>
          </a:xfrm>
          <a:noFill/>
        </p:grpSpPr>
        <p:sp>
          <p:nvSpPr>
            <p:cNvPr id="193" name="Freeform: Shape 66">
              <a:extLst>
                <a:ext uri="{FF2B5EF4-FFF2-40B4-BE49-F238E27FC236}">
                  <a16:creationId xmlns:a16="http://schemas.microsoft.com/office/drawing/2014/main" id="{6CAD09E9-CEC7-C6AD-A854-1AE8CB0F3882}"/>
                </a:ext>
              </a:extLst>
            </p:cNvPr>
            <p:cNvSpPr/>
            <p:nvPr/>
          </p:nvSpPr>
          <p:spPr>
            <a:xfrm>
              <a:off x="4178980" y="1396313"/>
              <a:ext cx="172227" cy="13248"/>
            </a:xfrm>
            <a:custGeom>
              <a:avLst/>
              <a:gdLst>
                <a:gd name="connsiteX0" fmla="*/ 0 w 172227"/>
                <a:gd name="connsiteY0" fmla="*/ 0 h 0"/>
                <a:gd name="connsiteX1" fmla="*/ 180573 w 172227"/>
                <a:gd name="connsiteY1" fmla="*/ 0 h 0"/>
              </a:gdLst>
              <a:ahLst/>
              <a:cxnLst>
                <a:cxn ang="0">
                  <a:pos x="connsiteX0" y="connsiteY0"/>
                </a:cxn>
                <a:cxn ang="0">
                  <a:pos x="connsiteX1" y="connsiteY1"/>
                </a:cxn>
              </a:cxnLst>
              <a:rect l="l" t="t" r="r" b="b"/>
              <a:pathLst>
                <a:path w="172227">
                  <a:moveTo>
                    <a:pt x="0" y="0"/>
                  </a:moveTo>
                  <a:lnTo>
                    <a:pt x="180573" y="0"/>
                  </a:lnTo>
                </a:path>
              </a:pathLst>
            </a:custGeom>
            <a:grpFill/>
            <a:ln w="12700" cap="rnd">
              <a:solidFill>
                <a:schemeClr val="bg1"/>
              </a:solidFill>
              <a:prstDash val="solid"/>
              <a:round/>
            </a:ln>
          </p:spPr>
          <p:txBody>
            <a:bodyPr rtlCol="0" anchor="ctr"/>
            <a:lstStyle/>
            <a:p>
              <a:endParaRPr lang="en-GB" sz="1600" dirty="0"/>
            </a:p>
          </p:txBody>
        </p:sp>
        <p:sp>
          <p:nvSpPr>
            <p:cNvPr id="194" name="Freeform: Shape 67">
              <a:extLst>
                <a:ext uri="{FF2B5EF4-FFF2-40B4-BE49-F238E27FC236}">
                  <a16:creationId xmlns:a16="http://schemas.microsoft.com/office/drawing/2014/main" id="{1C316F72-B187-B99E-E565-6E9F14306695}"/>
                </a:ext>
              </a:extLst>
            </p:cNvPr>
            <p:cNvSpPr/>
            <p:nvPr/>
          </p:nvSpPr>
          <p:spPr>
            <a:xfrm>
              <a:off x="4178980" y="1469973"/>
              <a:ext cx="172227" cy="13248"/>
            </a:xfrm>
            <a:custGeom>
              <a:avLst/>
              <a:gdLst>
                <a:gd name="connsiteX0" fmla="*/ 0 w 172227"/>
                <a:gd name="connsiteY0" fmla="*/ 0 h 0"/>
                <a:gd name="connsiteX1" fmla="*/ 180706 w 172227"/>
                <a:gd name="connsiteY1" fmla="*/ 0 h 0"/>
              </a:gdLst>
              <a:ahLst/>
              <a:cxnLst>
                <a:cxn ang="0">
                  <a:pos x="connsiteX0" y="connsiteY0"/>
                </a:cxn>
                <a:cxn ang="0">
                  <a:pos x="connsiteX1" y="connsiteY1"/>
                </a:cxn>
              </a:cxnLst>
              <a:rect l="l" t="t" r="r" b="b"/>
              <a:pathLst>
                <a:path w="172227">
                  <a:moveTo>
                    <a:pt x="0" y="0"/>
                  </a:moveTo>
                  <a:lnTo>
                    <a:pt x="180706" y="0"/>
                  </a:lnTo>
                </a:path>
              </a:pathLst>
            </a:custGeom>
            <a:grpFill/>
            <a:ln w="12700" cap="rnd">
              <a:solidFill>
                <a:schemeClr val="bg1"/>
              </a:solidFill>
              <a:prstDash val="solid"/>
              <a:round/>
            </a:ln>
          </p:spPr>
          <p:txBody>
            <a:bodyPr rtlCol="0" anchor="ctr"/>
            <a:lstStyle/>
            <a:p>
              <a:endParaRPr lang="en-GB" sz="1600" dirty="0"/>
            </a:p>
          </p:txBody>
        </p:sp>
        <p:sp>
          <p:nvSpPr>
            <p:cNvPr id="195" name="Freeform: Shape 68">
              <a:extLst>
                <a:ext uri="{FF2B5EF4-FFF2-40B4-BE49-F238E27FC236}">
                  <a16:creationId xmlns:a16="http://schemas.microsoft.com/office/drawing/2014/main" id="{8034CBC8-73EB-47CD-7D24-5647B2619572}"/>
                </a:ext>
              </a:extLst>
            </p:cNvPr>
            <p:cNvSpPr/>
            <p:nvPr/>
          </p:nvSpPr>
          <p:spPr>
            <a:xfrm>
              <a:off x="4105453" y="1314571"/>
              <a:ext cx="317958" cy="278213"/>
            </a:xfrm>
            <a:custGeom>
              <a:avLst/>
              <a:gdLst>
                <a:gd name="connsiteX0" fmla="*/ 0 w 317957"/>
                <a:gd name="connsiteY0" fmla="*/ 0 h 278213"/>
                <a:gd name="connsiteX1" fmla="*/ 0 w 317957"/>
                <a:gd name="connsiteY1" fmla="*/ 231049 h 278213"/>
                <a:gd name="connsiteX2" fmla="*/ 242708 w 317957"/>
                <a:gd name="connsiteY2" fmla="*/ 231049 h 278213"/>
                <a:gd name="connsiteX3" fmla="*/ 286162 w 317957"/>
                <a:gd name="connsiteY3" fmla="*/ 280730 h 278213"/>
                <a:gd name="connsiteX4" fmla="*/ 286162 w 317957"/>
                <a:gd name="connsiteY4" fmla="*/ 231049 h 278213"/>
                <a:gd name="connsiteX5" fmla="*/ 327629 w 317957"/>
                <a:gd name="connsiteY5" fmla="*/ 231049 h 278213"/>
                <a:gd name="connsiteX6" fmla="*/ 327629 w 317957"/>
                <a:gd name="connsiteY6" fmla="*/ 0 h 2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957" h="278213">
                  <a:moveTo>
                    <a:pt x="0" y="0"/>
                  </a:moveTo>
                  <a:lnTo>
                    <a:pt x="0" y="231049"/>
                  </a:lnTo>
                  <a:lnTo>
                    <a:pt x="242708" y="231049"/>
                  </a:lnTo>
                  <a:lnTo>
                    <a:pt x="286162" y="280730"/>
                  </a:lnTo>
                  <a:lnTo>
                    <a:pt x="286162" y="231049"/>
                  </a:lnTo>
                  <a:lnTo>
                    <a:pt x="327629" y="231049"/>
                  </a:lnTo>
                  <a:lnTo>
                    <a:pt x="327629" y="0"/>
                  </a:lnTo>
                  <a:close/>
                </a:path>
              </a:pathLst>
            </a:custGeom>
            <a:grpFill/>
            <a:ln w="12700" cap="rnd">
              <a:solidFill>
                <a:schemeClr val="bg1"/>
              </a:solidFill>
              <a:prstDash val="solid"/>
              <a:round/>
            </a:ln>
          </p:spPr>
          <p:txBody>
            <a:bodyPr rtlCol="0" anchor="ctr"/>
            <a:lstStyle/>
            <a:p>
              <a:endParaRPr lang="en-GB" sz="1600" dirty="0"/>
            </a:p>
          </p:txBody>
        </p:sp>
        <p:sp>
          <p:nvSpPr>
            <p:cNvPr id="196" name="Freeform: Shape 69">
              <a:extLst>
                <a:ext uri="{FF2B5EF4-FFF2-40B4-BE49-F238E27FC236}">
                  <a16:creationId xmlns:a16="http://schemas.microsoft.com/office/drawing/2014/main" id="{86F143F5-6ABD-DA80-09DE-C06C3F3EDC24}"/>
                </a:ext>
              </a:extLst>
            </p:cNvPr>
            <p:cNvSpPr/>
            <p:nvPr/>
          </p:nvSpPr>
          <p:spPr>
            <a:xfrm>
              <a:off x="4326168" y="1657833"/>
              <a:ext cx="357702" cy="225220"/>
            </a:xfrm>
            <a:custGeom>
              <a:avLst/>
              <a:gdLst>
                <a:gd name="connsiteX0" fmla="*/ 0 w 357702"/>
                <a:gd name="connsiteY0" fmla="*/ 0 h 225220"/>
                <a:gd name="connsiteX1" fmla="*/ 359425 w 357702"/>
                <a:gd name="connsiteY1" fmla="*/ 0 h 225220"/>
                <a:gd name="connsiteX2" fmla="*/ 359425 w 357702"/>
                <a:gd name="connsiteY2" fmla="*/ 231712 h 225220"/>
                <a:gd name="connsiteX3" fmla="*/ 0 w 357702"/>
                <a:gd name="connsiteY3" fmla="*/ 231712 h 225220"/>
              </a:gdLst>
              <a:ahLst/>
              <a:cxnLst>
                <a:cxn ang="0">
                  <a:pos x="connsiteX0" y="connsiteY0"/>
                </a:cxn>
                <a:cxn ang="0">
                  <a:pos x="connsiteX1" y="connsiteY1"/>
                </a:cxn>
                <a:cxn ang="0">
                  <a:pos x="connsiteX2" y="connsiteY2"/>
                </a:cxn>
                <a:cxn ang="0">
                  <a:pos x="connsiteX3" y="connsiteY3"/>
                </a:cxn>
              </a:cxnLst>
              <a:rect l="l" t="t" r="r" b="b"/>
              <a:pathLst>
                <a:path w="357702" h="225220">
                  <a:moveTo>
                    <a:pt x="0" y="0"/>
                  </a:moveTo>
                  <a:lnTo>
                    <a:pt x="359425" y="0"/>
                  </a:lnTo>
                  <a:lnTo>
                    <a:pt x="359425" y="231712"/>
                  </a:lnTo>
                  <a:lnTo>
                    <a:pt x="0" y="231712"/>
                  </a:lnTo>
                  <a:close/>
                </a:path>
              </a:pathLst>
            </a:custGeom>
            <a:grpFill/>
            <a:ln w="12700" cap="rnd">
              <a:solidFill>
                <a:schemeClr val="bg1"/>
              </a:solidFill>
              <a:prstDash val="solid"/>
              <a:round/>
            </a:ln>
          </p:spPr>
          <p:txBody>
            <a:bodyPr rtlCol="0" anchor="ctr"/>
            <a:lstStyle/>
            <a:p>
              <a:endParaRPr lang="en-GB" sz="1600" dirty="0"/>
            </a:p>
          </p:txBody>
        </p:sp>
        <p:sp>
          <p:nvSpPr>
            <p:cNvPr id="197" name="Freeform: Shape 70">
              <a:extLst>
                <a:ext uri="{FF2B5EF4-FFF2-40B4-BE49-F238E27FC236}">
                  <a16:creationId xmlns:a16="http://schemas.microsoft.com/office/drawing/2014/main" id="{751AEC16-F401-7E2C-29D1-94BFB3653BAF}"/>
                </a:ext>
              </a:extLst>
            </p:cNvPr>
            <p:cNvSpPr/>
            <p:nvPr/>
          </p:nvSpPr>
          <p:spPr>
            <a:xfrm>
              <a:off x="4394794" y="1804359"/>
              <a:ext cx="211972" cy="26496"/>
            </a:xfrm>
            <a:custGeom>
              <a:avLst/>
              <a:gdLst>
                <a:gd name="connsiteX0" fmla="*/ 0 w 211971"/>
                <a:gd name="connsiteY0" fmla="*/ 0 h 26496"/>
                <a:gd name="connsiteX1" fmla="*/ 222173 w 211971"/>
                <a:gd name="connsiteY1" fmla="*/ 0 h 26496"/>
                <a:gd name="connsiteX2" fmla="*/ 222173 w 211971"/>
                <a:gd name="connsiteY2" fmla="*/ 33121 h 26496"/>
                <a:gd name="connsiteX3" fmla="*/ 0 w 211971"/>
                <a:gd name="connsiteY3" fmla="*/ 33121 h 26496"/>
              </a:gdLst>
              <a:ahLst/>
              <a:cxnLst>
                <a:cxn ang="0">
                  <a:pos x="connsiteX0" y="connsiteY0"/>
                </a:cxn>
                <a:cxn ang="0">
                  <a:pos x="connsiteX1" y="connsiteY1"/>
                </a:cxn>
                <a:cxn ang="0">
                  <a:pos x="connsiteX2" y="connsiteY2"/>
                </a:cxn>
                <a:cxn ang="0">
                  <a:pos x="connsiteX3" y="connsiteY3"/>
                </a:cxn>
              </a:cxnLst>
              <a:rect l="l" t="t" r="r" b="b"/>
              <a:pathLst>
                <a:path w="211971" h="26496">
                  <a:moveTo>
                    <a:pt x="0" y="0"/>
                  </a:moveTo>
                  <a:lnTo>
                    <a:pt x="222173" y="0"/>
                  </a:lnTo>
                  <a:lnTo>
                    <a:pt x="222173" y="33121"/>
                  </a:lnTo>
                  <a:lnTo>
                    <a:pt x="0" y="33121"/>
                  </a:lnTo>
                  <a:close/>
                </a:path>
              </a:pathLst>
            </a:custGeom>
            <a:grpFill/>
            <a:ln w="12700" cap="rnd">
              <a:solidFill>
                <a:schemeClr val="bg1"/>
              </a:solidFill>
              <a:prstDash val="solid"/>
              <a:round/>
            </a:ln>
          </p:spPr>
          <p:txBody>
            <a:bodyPr rtlCol="0" anchor="ctr"/>
            <a:lstStyle/>
            <a:p>
              <a:endParaRPr lang="en-GB" sz="1600" dirty="0"/>
            </a:p>
          </p:txBody>
        </p:sp>
        <p:sp>
          <p:nvSpPr>
            <p:cNvPr id="198" name="Freeform: Shape 71">
              <a:extLst>
                <a:ext uri="{FF2B5EF4-FFF2-40B4-BE49-F238E27FC236}">
                  <a16:creationId xmlns:a16="http://schemas.microsoft.com/office/drawing/2014/main" id="{484883EF-833F-AD73-CEDF-F9CA705B5D0B}"/>
                </a:ext>
              </a:extLst>
            </p:cNvPr>
            <p:cNvSpPr/>
            <p:nvPr/>
          </p:nvSpPr>
          <p:spPr>
            <a:xfrm>
              <a:off x="4417184" y="1710959"/>
              <a:ext cx="26496" cy="26496"/>
            </a:xfrm>
            <a:custGeom>
              <a:avLst/>
              <a:gdLst>
                <a:gd name="connsiteX0" fmla="*/ 0 w 26496"/>
                <a:gd name="connsiteY0" fmla="*/ 0 h 26496"/>
                <a:gd name="connsiteX1" fmla="*/ 33253 w 26496"/>
                <a:gd name="connsiteY1" fmla="*/ 33253 h 26496"/>
              </a:gdLst>
              <a:ahLst/>
              <a:cxnLst>
                <a:cxn ang="0">
                  <a:pos x="connsiteX0" y="connsiteY0"/>
                </a:cxn>
                <a:cxn ang="0">
                  <a:pos x="connsiteX1" y="connsiteY1"/>
                </a:cxn>
              </a:cxnLst>
              <a:rect l="l" t="t" r="r" b="b"/>
              <a:pathLst>
                <a:path w="26496" h="26496">
                  <a:moveTo>
                    <a:pt x="0" y="0"/>
                  </a:moveTo>
                  <a:lnTo>
                    <a:pt x="33253" y="33253"/>
                  </a:lnTo>
                </a:path>
              </a:pathLst>
            </a:custGeom>
            <a:grpFill/>
            <a:ln w="12700" cap="rnd">
              <a:solidFill>
                <a:schemeClr val="bg1"/>
              </a:solidFill>
              <a:prstDash val="solid"/>
              <a:round/>
            </a:ln>
          </p:spPr>
          <p:txBody>
            <a:bodyPr rtlCol="0" anchor="ctr"/>
            <a:lstStyle/>
            <a:p>
              <a:endParaRPr lang="en-GB" sz="1600" dirty="0"/>
            </a:p>
          </p:txBody>
        </p:sp>
        <p:sp>
          <p:nvSpPr>
            <p:cNvPr id="199" name="Freeform: Shape 72">
              <a:extLst>
                <a:ext uri="{FF2B5EF4-FFF2-40B4-BE49-F238E27FC236}">
                  <a16:creationId xmlns:a16="http://schemas.microsoft.com/office/drawing/2014/main" id="{FC774FFE-5367-E88D-0C49-3C99482880AE}"/>
                </a:ext>
              </a:extLst>
            </p:cNvPr>
            <p:cNvSpPr/>
            <p:nvPr/>
          </p:nvSpPr>
          <p:spPr>
            <a:xfrm>
              <a:off x="4417184" y="1710959"/>
              <a:ext cx="26496" cy="26496"/>
            </a:xfrm>
            <a:custGeom>
              <a:avLst/>
              <a:gdLst>
                <a:gd name="connsiteX0" fmla="*/ 33253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253" y="0"/>
                  </a:moveTo>
                  <a:lnTo>
                    <a:pt x="0" y="33253"/>
                  </a:lnTo>
                </a:path>
              </a:pathLst>
            </a:custGeom>
            <a:grpFill/>
            <a:ln w="12700" cap="rnd">
              <a:solidFill>
                <a:schemeClr val="bg1"/>
              </a:solidFill>
              <a:prstDash val="solid"/>
              <a:round/>
            </a:ln>
          </p:spPr>
          <p:txBody>
            <a:bodyPr rtlCol="0" anchor="ctr"/>
            <a:lstStyle/>
            <a:p>
              <a:endParaRPr lang="en-GB" sz="1600" dirty="0"/>
            </a:p>
          </p:txBody>
        </p:sp>
        <p:sp>
          <p:nvSpPr>
            <p:cNvPr id="200" name="Freeform: Shape 73">
              <a:extLst>
                <a:ext uri="{FF2B5EF4-FFF2-40B4-BE49-F238E27FC236}">
                  <a16:creationId xmlns:a16="http://schemas.microsoft.com/office/drawing/2014/main" id="{FD2A2A61-FE52-3E59-B6B8-D07424A1A9D4}"/>
                </a:ext>
              </a:extLst>
            </p:cNvPr>
            <p:cNvSpPr/>
            <p:nvPr/>
          </p:nvSpPr>
          <p:spPr>
            <a:xfrm>
              <a:off x="4561457" y="1710959"/>
              <a:ext cx="26496" cy="26496"/>
            </a:xfrm>
            <a:custGeom>
              <a:avLst/>
              <a:gdLst>
                <a:gd name="connsiteX0" fmla="*/ 0 w 26496"/>
                <a:gd name="connsiteY0" fmla="*/ 0 h 26496"/>
                <a:gd name="connsiteX1" fmla="*/ 33121 w 26496"/>
                <a:gd name="connsiteY1" fmla="*/ 33253 h 26496"/>
              </a:gdLst>
              <a:ahLst/>
              <a:cxnLst>
                <a:cxn ang="0">
                  <a:pos x="connsiteX0" y="connsiteY0"/>
                </a:cxn>
                <a:cxn ang="0">
                  <a:pos x="connsiteX1" y="connsiteY1"/>
                </a:cxn>
              </a:cxnLst>
              <a:rect l="l" t="t" r="r" b="b"/>
              <a:pathLst>
                <a:path w="26496" h="26496">
                  <a:moveTo>
                    <a:pt x="0" y="0"/>
                  </a:moveTo>
                  <a:lnTo>
                    <a:pt x="33121" y="33253"/>
                  </a:lnTo>
                </a:path>
              </a:pathLst>
            </a:custGeom>
            <a:grpFill/>
            <a:ln w="12700" cap="rnd">
              <a:solidFill>
                <a:schemeClr val="bg1"/>
              </a:solidFill>
              <a:prstDash val="solid"/>
              <a:round/>
            </a:ln>
          </p:spPr>
          <p:txBody>
            <a:bodyPr rtlCol="0" anchor="ctr"/>
            <a:lstStyle/>
            <a:p>
              <a:endParaRPr lang="en-GB" sz="1600" dirty="0"/>
            </a:p>
          </p:txBody>
        </p:sp>
        <p:sp>
          <p:nvSpPr>
            <p:cNvPr id="201" name="Freeform: Shape 74">
              <a:extLst>
                <a:ext uri="{FF2B5EF4-FFF2-40B4-BE49-F238E27FC236}">
                  <a16:creationId xmlns:a16="http://schemas.microsoft.com/office/drawing/2014/main" id="{958FADFB-1640-5213-FF47-A430ECFE285C}"/>
                </a:ext>
              </a:extLst>
            </p:cNvPr>
            <p:cNvSpPr/>
            <p:nvPr/>
          </p:nvSpPr>
          <p:spPr>
            <a:xfrm>
              <a:off x="4561457" y="1710959"/>
              <a:ext cx="26496" cy="26496"/>
            </a:xfrm>
            <a:custGeom>
              <a:avLst/>
              <a:gdLst>
                <a:gd name="connsiteX0" fmla="*/ 33121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121" y="0"/>
                  </a:moveTo>
                  <a:lnTo>
                    <a:pt x="0" y="33253"/>
                  </a:lnTo>
                </a:path>
              </a:pathLst>
            </a:custGeom>
            <a:grpFill/>
            <a:ln w="12700" cap="rnd">
              <a:solidFill>
                <a:schemeClr val="bg1"/>
              </a:solidFill>
              <a:prstDash val="solid"/>
              <a:round/>
            </a:ln>
          </p:spPr>
          <p:txBody>
            <a:bodyPr rtlCol="0" anchor="ctr"/>
            <a:lstStyle/>
            <a:p>
              <a:endParaRPr lang="en-GB" sz="1600" dirty="0"/>
            </a:p>
          </p:txBody>
        </p:sp>
        <p:sp>
          <p:nvSpPr>
            <p:cNvPr id="202" name="Freeform: Shape 75">
              <a:extLst>
                <a:ext uri="{FF2B5EF4-FFF2-40B4-BE49-F238E27FC236}">
                  <a16:creationId xmlns:a16="http://schemas.microsoft.com/office/drawing/2014/main" id="{C974164A-1642-0004-FC3B-4DB4C038AFF0}"/>
                </a:ext>
              </a:extLst>
            </p:cNvPr>
            <p:cNvSpPr/>
            <p:nvPr/>
          </p:nvSpPr>
          <p:spPr>
            <a:xfrm>
              <a:off x="4505947" y="1608152"/>
              <a:ext cx="13248" cy="39745"/>
            </a:xfrm>
            <a:custGeom>
              <a:avLst/>
              <a:gdLst>
                <a:gd name="connsiteX0" fmla="*/ 0 w 0"/>
                <a:gd name="connsiteY0" fmla="*/ 44912 h 39744"/>
                <a:gd name="connsiteX1" fmla="*/ 0 w 0"/>
                <a:gd name="connsiteY1" fmla="*/ 0 h 39744"/>
              </a:gdLst>
              <a:ahLst/>
              <a:cxnLst>
                <a:cxn ang="0">
                  <a:pos x="connsiteX0" y="connsiteY0"/>
                </a:cxn>
                <a:cxn ang="0">
                  <a:pos x="connsiteX1" y="connsiteY1"/>
                </a:cxn>
              </a:cxnLst>
              <a:rect l="l" t="t" r="r" b="b"/>
              <a:pathLst>
                <a:path h="39744">
                  <a:moveTo>
                    <a:pt x="0" y="44912"/>
                  </a:moveTo>
                  <a:lnTo>
                    <a:pt x="0" y="0"/>
                  </a:lnTo>
                </a:path>
              </a:pathLst>
            </a:custGeom>
            <a:grpFill/>
            <a:ln w="12700" cap="rnd">
              <a:solidFill>
                <a:schemeClr val="bg1"/>
              </a:solidFill>
              <a:prstDash val="solid"/>
              <a:round/>
            </a:ln>
          </p:spPr>
          <p:txBody>
            <a:bodyPr rtlCol="0" anchor="ctr"/>
            <a:lstStyle/>
            <a:p>
              <a:endParaRPr lang="en-GB" sz="1600" dirty="0"/>
            </a:p>
          </p:txBody>
        </p:sp>
        <p:sp>
          <p:nvSpPr>
            <p:cNvPr id="203" name="Freeform: Shape 76">
              <a:extLst>
                <a:ext uri="{FF2B5EF4-FFF2-40B4-BE49-F238E27FC236}">
                  <a16:creationId xmlns:a16="http://schemas.microsoft.com/office/drawing/2014/main" id="{E1FAF0DA-2748-C622-0896-1CF44272EA4E}"/>
                </a:ext>
              </a:extLst>
            </p:cNvPr>
            <p:cNvSpPr/>
            <p:nvPr/>
          </p:nvSpPr>
          <p:spPr>
            <a:xfrm>
              <a:off x="4488062" y="1568010"/>
              <a:ext cx="26496" cy="26496"/>
            </a:xfrm>
            <a:custGeom>
              <a:avLst/>
              <a:gdLst>
                <a:gd name="connsiteX0" fmla="*/ 35770 w 26496"/>
                <a:gd name="connsiteY0" fmla="*/ 17885 h 26496"/>
                <a:gd name="connsiteX1" fmla="*/ 17885 w 26496"/>
                <a:gd name="connsiteY1" fmla="*/ 35770 h 26496"/>
                <a:gd name="connsiteX2" fmla="*/ 0 w 26496"/>
                <a:gd name="connsiteY2" fmla="*/ 17885 h 26496"/>
                <a:gd name="connsiteX3" fmla="*/ 17885 w 26496"/>
                <a:gd name="connsiteY3" fmla="*/ 0 h 26496"/>
                <a:gd name="connsiteX4" fmla="*/ 35770 w 26496"/>
                <a:gd name="connsiteY4" fmla="*/ 17885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6" h="26496">
                  <a:moveTo>
                    <a:pt x="35770" y="17885"/>
                  </a:moveTo>
                  <a:cubicBezTo>
                    <a:pt x="35770" y="27763"/>
                    <a:pt x="27763" y="35770"/>
                    <a:pt x="17885" y="35770"/>
                  </a:cubicBezTo>
                  <a:cubicBezTo>
                    <a:pt x="8007" y="35770"/>
                    <a:pt x="0" y="27763"/>
                    <a:pt x="0" y="17885"/>
                  </a:cubicBezTo>
                  <a:cubicBezTo>
                    <a:pt x="0" y="8007"/>
                    <a:pt x="8007" y="0"/>
                    <a:pt x="17885" y="0"/>
                  </a:cubicBezTo>
                  <a:cubicBezTo>
                    <a:pt x="27763" y="0"/>
                    <a:pt x="35770" y="8007"/>
                    <a:pt x="35770" y="17885"/>
                  </a:cubicBezTo>
                  <a:close/>
                </a:path>
              </a:pathLst>
            </a:custGeom>
            <a:grpFill/>
            <a:ln w="12700" cap="rnd">
              <a:solidFill>
                <a:schemeClr val="bg1"/>
              </a:solidFill>
              <a:prstDash val="solid"/>
              <a:round/>
            </a:ln>
          </p:spPr>
          <p:txBody>
            <a:bodyPr rtlCol="0" anchor="ctr"/>
            <a:lstStyle/>
            <a:p>
              <a:endParaRPr lang="en-GB" sz="1600" dirty="0"/>
            </a:p>
          </p:txBody>
        </p:sp>
      </p:grpSp>
      <p:grpSp>
        <p:nvGrpSpPr>
          <p:cNvPr id="204" name="Group 203">
            <a:extLst>
              <a:ext uri="{FF2B5EF4-FFF2-40B4-BE49-F238E27FC236}">
                <a16:creationId xmlns:a16="http://schemas.microsoft.com/office/drawing/2014/main" id="{11BFB624-53BA-3956-E384-55ADD582EE4D}"/>
              </a:ext>
              <a:ext uri="{C183D7F6-B498-43B3-948B-1728B52AA6E4}">
                <adec:decorative xmlns:adec="http://schemas.microsoft.com/office/drawing/2017/decorative" val="1"/>
              </a:ext>
            </a:extLst>
          </p:cNvPr>
          <p:cNvGrpSpPr/>
          <p:nvPr userDrawn="1"/>
        </p:nvGrpSpPr>
        <p:grpSpPr>
          <a:xfrm>
            <a:off x="6559527" y="5590082"/>
            <a:ext cx="438168" cy="265916"/>
            <a:chOff x="4139310" y="2382327"/>
            <a:chExt cx="561027" cy="340478"/>
          </a:xfrm>
          <a:noFill/>
        </p:grpSpPr>
        <p:sp>
          <p:nvSpPr>
            <p:cNvPr id="205" name="Freeform: Shape 91">
              <a:extLst>
                <a:ext uri="{FF2B5EF4-FFF2-40B4-BE49-F238E27FC236}">
                  <a16:creationId xmlns:a16="http://schemas.microsoft.com/office/drawing/2014/main" id="{243FAA23-CF7F-7F75-22D4-4504B6FBC4E9}"/>
                </a:ext>
              </a:extLst>
            </p:cNvPr>
            <p:cNvSpPr/>
            <p:nvPr/>
          </p:nvSpPr>
          <p:spPr>
            <a:xfrm>
              <a:off x="4139310" y="2382327"/>
              <a:ext cx="340478" cy="340478"/>
            </a:xfrm>
            <a:custGeom>
              <a:avLst/>
              <a:gdLst>
                <a:gd name="connsiteX0" fmla="*/ 336148 w 340477"/>
                <a:gd name="connsiteY0" fmla="*/ 118636 h 340477"/>
                <a:gd name="connsiteX1" fmla="*/ 335494 w 340477"/>
                <a:gd name="connsiteY1" fmla="*/ 227981 h 340477"/>
                <a:gd name="connsiteX2" fmla="*/ 116802 w 340477"/>
                <a:gd name="connsiteY2" fmla="*/ 335494 h 340477"/>
                <a:gd name="connsiteX3" fmla="*/ 9290 w 340477"/>
                <a:gd name="connsiteY3" fmla="*/ 116802 h 340477"/>
                <a:gd name="connsiteX4" fmla="*/ 227981 w 340477"/>
                <a:gd name="connsiteY4" fmla="*/ 9290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336148" y="118636"/>
                  </a:moveTo>
                  <a:cubicBezTo>
                    <a:pt x="347410" y="152945"/>
                    <a:pt x="348065" y="191183"/>
                    <a:pt x="335494" y="227981"/>
                  </a:cubicBezTo>
                  <a:cubicBezTo>
                    <a:pt x="304851" y="318077"/>
                    <a:pt x="206898" y="366267"/>
                    <a:pt x="116802" y="335494"/>
                  </a:cubicBezTo>
                  <a:cubicBezTo>
                    <a:pt x="26707" y="304851"/>
                    <a:pt x="-21484" y="206898"/>
                    <a:pt x="9290" y="116802"/>
                  </a:cubicBezTo>
                  <a:cubicBezTo>
                    <a:pt x="40064" y="26707"/>
                    <a:pt x="137886" y="-21484"/>
                    <a:pt x="227981" y="9290"/>
                  </a:cubicBezTo>
                </a:path>
              </a:pathLst>
            </a:custGeom>
            <a:grpFill/>
            <a:ln w="12700" cap="flat">
              <a:solidFill>
                <a:schemeClr val="bg1"/>
              </a:solidFill>
              <a:prstDash val="solid"/>
              <a:round/>
            </a:ln>
          </p:spPr>
          <p:txBody>
            <a:bodyPr rtlCol="0" anchor="ctr"/>
            <a:lstStyle/>
            <a:p>
              <a:endParaRPr lang="en-GB" sz="1600" dirty="0"/>
            </a:p>
          </p:txBody>
        </p:sp>
        <p:sp>
          <p:nvSpPr>
            <p:cNvPr id="206" name="Freeform: Shape 92">
              <a:extLst>
                <a:ext uri="{FF2B5EF4-FFF2-40B4-BE49-F238E27FC236}">
                  <a16:creationId xmlns:a16="http://schemas.microsoft.com/office/drawing/2014/main" id="{B72F2B67-B118-6A31-2079-EBFA9D00D903}"/>
                </a:ext>
              </a:extLst>
            </p:cNvPr>
            <p:cNvSpPr/>
            <p:nvPr/>
          </p:nvSpPr>
          <p:spPr>
            <a:xfrm>
              <a:off x="4359859" y="2382327"/>
              <a:ext cx="340478" cy="340478"/>
            </a:xfrm>
            <a:custGeom>
              <a:avLst/>
              <a:gdLst>
                <a:gd name="connsiteX0" fmla="*/ 8610 w 340477"/>
                <a:gd name="connsiteY0" fmla="*/ 226148 h 340477"/>
                <a:gd name="connsiteX1" fmla="*/ 9265 w 340477"/>
                <a:gd name="connsiteY1" fmla="*/ 116802 h 340477"/>
                <a:gd name="connsiteX2" fmla="*/ 227956 w 340477"/>
                <a:gd name="connsiteY2" fmla="*/ 9290 h 340477"/>
                <a:gd name="connsiteX3" fmla="*/ 335469 w 340477"/>
                <a:gd name="connsiteY3" fmla="*/ 227981 h 340477"/>
                <a:gd name="connsiteX4" fmla="*/ 116777 w 340477"/>
                <a:gd name="connsiteY4" fmla="*/ 335494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8610" y="226148"/>
                  </a:moveTo>
                  <a:cubicBezTo>
                    <a:pt x="-2652" y="191838"/>
                    <a:pt x="-3307" y="153600"/>
                    <a:pt x="9265" y="116802"/>
                  </a:cubicBezTo>
                  <a:cubicBezTo>
                    <a:pt x="39908" y="26707"/>
                    <a:pt x="137861" y="-21484"/>
                    <a:pt x="227956" y="9290"/>
                  </a:cubicBezTo>
                  <a:cubicBezTo>
                    <a:pt x="318052" y="39933"/>
                    <a:pt x="366243" y="137886"/>
                    <a:pt x="335469" y="227981"/>
                  </a:cubicBezTo>
                  <a:cubicBezTo>
                    <a:pt x="304826" y="318077"/>
                    <a:pt x="206873" y="366267"/>
                    <a:pt x="116777" y="335494"/>
                  </a:cubicBezTo>
                </a:path>
              </a:pathLst>
            </a:custGeom>
            <a:grpFill/>
            <a:ln w="12700" cap="flat">
              <a:solidFill>
                <a:schemeClr val="bg1"/>
              </a:solidFill>
              <a:prstDash val="solid"/>
              <a:round/>
            </a:ln>
          </p:spPr>
          <p:txBody>
            <a:bodyPr rtlCol="0" anchor="ctr"/>
            <a:lstStyle/>
            <a:p>
              <a:endParaRPr lang="en-GB" sz="1600" dirty="0"/>
            </a:p>
          </p:txBody>
        </p:sp>
      </p:grpSp>
      <p:sp>
        <p:nvSpPr>
          <p:cNvPr id="207" name="Freeform: Shape 171">
            <a:extLst>
              <a:ext uri="{FF2B5EF4-FFF2-40B4-BE49-F238E27FC236}">
                <a16:creationId xmlns:a16="http://schemas.microsoft.com/office/drawing/2014/main" id="{A93A9519-39C1-01C7-54E4-92C5D2919E36}"/>
              </a:ext>
              <a:ext uri="{C183D7F6-B498-43B3-948B-1728B52AA6E4}">
                <adec:decorative xmlns:adec="http://schemas.microsoft.com/office/drawing/2017/decorative" val="1"/>
              </a:ext>
            </a:extLst>
          </p:cNvPr>
          <p:cNvSpPr/>
          <p:nvPr userDrawn="1"/>
        </p:nvSpPr>
        <p:spPr>
          <a:xfrm>
            <a:off x="8928119" y="5511775"/>
            <a:ext cx="262654" cy="422530"/>
          </a:xfrm>
          <a:custGeom>
            <a:avLst/>
            <a:gdLst>
              <a:gd name="connsiteX0" fmla="*/ 311668 w 301191"/>
              <a:gd name="connsiteY0" fmla="*/ 89179 h 484525"/>
              <a:gd name="connsiteX1" fmla="*/ 311668 w 301191"/>
              <a:gd name="connsiteY1" fmla="*/ 323977 h 484525"/>
              <a:gd name="connsiteX2" fmla="*/ 155834 w 301191"/>
              <a:gd name="connsiteY2" fmla="*/ 490550 h 484525"/>
              <a:gd name="connsiteX3" fmla="*/ 0 w 301191"/>
              <a:gd name="connsiteY3" fmla="*/ 325156 h 484525"/>
              <a:gd name="connsiteX4" fmla="*/ 0 w 301191"/>
              <a:gd name="connsiteY4" fmla="*/ 90489 h 484525"/>
              <a:gd name="connsiteX5" fmla="*/ 155834 w 301191"/>
              <a:gd name="connsiteY5" fmla="*/ 0 h 484525"/>
              <a:gd name="connsiteX6" fmla="*/ 311668 w 301191"/>
              <a:gd name="connsiteY6" fmla="*/ 89179 h 4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191" h="484525">
                <a:moveTo>
                  <a:pt x="311668" y="89179"/>
                </a:moveTo>
                <a:lnTo>
                  <a:pt x="311668" y="323977"/>
                </a:lnTo>
                <a:cubicBezTo>
                  <a:pt x="311668" y="399930"/>
                  <a:pt x="155834" y="490550"/>
                  <a:pt x="155834" y="490550"/>
                </a:cubicBezTo>
                <a:cubicBezTo>
                  <a:pt x="155834" y="490550"/>
                  <a:pt x="0" y="400061"/>
                  <a:pt x="0" y="325156"/>
                </a:cubicBezTo>
                <a:lnTo>
                  <a:pt x="0" y="90489"/>
                </a:lnTo>
                <a:cubicBezTo>
                  <a:pt x="0" y="90489"/>
                  <a:pt x="155834" y="71500"/>
                  <a:pt x="155834" y="0"/>
                </a:cubicBezTo>
                <a:cubicBezTo>
                  <a:pt x="155834" y="71238"/>
                  <a:pt x="311668" y="89179"/>
                  <a:pt x="311668" y="89179"/>
                </a:cubicBezTo>
                <a:close/>
              </a:path>
            </a:pathLst>
          </a:custGeom>
          <a:noFill/>
          <a:ln w="12700" cap="flat">
            <a:solidFill>
              <a:schemeClr val="bg1"/>
            </a:solidFill>
            <a:prstDash val="solid"/>
            <a:round/>
          </a:ln>
        </p:spPr>
        <p:txBody>
          <a:bodyPr rtlCol="0" anchor="ctr"/>
          <a:lstStyle/>
          <a:p>
            <a:endParaRPr lang="en-GB" sz="1600" dirty="0"/>
          </a:p>
        </p:txBody>
      </p:sp>
      <p:grpSp>
        <p:nvGrpSpPr>
          <p:cNvPr id="208" name="Group 207">
            <a:extLst>
              <a:ext uri="{FF2B5EF4-FFF2-40B4-BE49-F238E27FC236}">
                <a16:creationId xmlns:a16="http://schemas.microsoft.com/office/drawing/2014/main" id="{1404B479-2846-F226-1C7A-ED218AF855D8}"/>
              </a:ext>
              <a:ext uri="{C183D7F6-B498-43B3-948B-1728B52AA6E4}">
                <adec:decorative xmlns:adec="http://schemas.microsoft.com/office/drawing/2017/decorative" val="1"/>
              </a:ext>
            </a:extLst>
          </p:cNvPr>
          <p:cNvGrpSpPr/>
          <p:nvPr userDrawn="1"/>
        </p:nvGrpSpPr>
        <p:grpSpPr>
          <a:xfrm>
            <a:off x="670282" y="5327041"/>
            <a:ext cx="792000" cy="792000"/>
            <a:chOff x="616942" y="5297414"/>
            <a:chExt cx="792000" cy="792000"/>
          </a:xfrm>
        </p:grpSpPr>
        <p:sp>
          <p:nvSpPr>
            <p:cNvPr id="209" name="Oval 208">
              <a:extLst>
                <a:ext uri="{FF2B5EF4-FFF2-40B4-BE49-F238E27FC236}">
                  <a16:creationId xmlns:a16="http://schemas.microsoft.com/office/drawing/2014/main" id="{93F02B5D-99C8-8F28-426B-FF67E4A401C9}"/>
                </a:ext>
              </a:extLst>
            </p:cNvPr>
            <p:cNvSpPr/>
            <p:nvPr userDrawn="1"/>
          </p:nvSpPr>
          <p:spPr>
            <a:xfrm>
              <a:off x="616942" y="5297414"/>
              <a:ext cx="792000" cy="7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210" name="Group 209">
              <a:extLst>
                <a:ext uri="{FF2B5EF4-FFF2-40B4-BE49-F238E27FC236}">
                  <a16:creationId xmlns:a16="http://schemas.microsoft.com/office/drawing/2014/main" id="{E5CD9CFC-E4EF-3086-66F9-8A1593DBA0B7}"/>
                </a:ext>
              </a:extLst>
            </p:cNvPr>
            <p:cNvGrpSpPr/>
            <p:nvPr userDrawn="1"/>
          </p:nvGrpSpPr>
          <p:grpSpPr>
            <a:xfrm>
              <a:off x="784573" y="5468065"/>
              <a:ext cx="456737" cy="450699"/>
              <a:chOff x="8707777" y="3799709"/>
              <a:chExt cx="463408" cy="457281"/>
            </a:xfrm>
          </p:grpSpPr>
          <p:sp>
            <p:nvSpPr>
              <p:cNvPr id="211" name="Freeform: Shape 386">
                <a:extLst>
                  <a:ext uri="{FF2B5EF4-FFF2-40B4-BE49-F238E27FC236}">
                    <a16:creationId xmlns:a16="http://schemas.microsoft.com/office/drawing/2014/main" id="{B34FEEA2-C2D4-E653-2DE4-8A1C5410B29B}"/>
                  </a:ext>
                </a:extLst>
              </p:cNvPr>
              <p:cNvSpPr/>
              <p:nvPr/>
            </p:nvSpPr>
            <p:spPr>
              <a:xfrm>
                <a:off x="8707777" y="3799709"/>
                <a:ext cx="260559" cy="351754"/>
              </a:xfrm>
              <a:custGeom>
                <a:avLst/>
                <a:gdLst>
                  <a:gd name="connsiteX0" fmla="*/ 262513 w 260558"/>
                  <a:gd name="connsiteY0" fmla="*/ 131192 h 351754"/>
                  <a:gd name="connsiteX1" fmla="*/ 257302 w 260558"/>
                  <a:gd name="connsiteY1" fmla="*/ 167800 h 351754"/>
                  <a:gd name="connsiteX2" fmla="*/ 256520 w 260558"/>
                  <a:gd name="connsiteY2" fmla="*/ 170275 h 351754"/>
                  <a:gd name="connsiteX3" fmla="*/ 246228 w 260558"/>
                  <a:gd name="connsiteY3" fmla="*/ 194507 h 351754"/>
                  <a:gd name="connsiteX4" fmla="*/ 197894 w 260558"/>
                  <a:gd name="connsiteY4" fmla="*/ 358008 h 351754"/>
                  <a:gd name="connsiteX5" fmla="*/ 64749 w 260558"/>
                  <a:gd name="connsiteY5" fmla="*/ 358008 h 351754"/>
                  <a:gd name="connsiteX6" fmla="*/ 16676 w 260558"/>
                  <a:gd name="connsiteY6" fmla="*/ 195289 h 351754"/>
                  <a:gd name="connsiteX7" fmla="*/ 5732 w 260558"/>
                  <a:gd name="connsiteY7" fmla="*/ 169363 h 351754"/>
                  <a:gd name="connsiteX8" fmla="*/ 5211 w 260558"/>
                  <a:gd name="connsiteY8" fmla="*/ 167930 h 351754"/>
                  <a:gd name="connsiteX9" fmla="*/ 0 w 260558"/>
                  <a:gd name="connsiteY9" fmla="*/ 131322 h 351754"/>
                  <a:gd name="connsiteX10" fmla="*/ 131322 w 260558"/>
                  <a:gd name="connsiteY10" fmla="*/ 0 h 351754"/>
                  <a:gd name="connsiteX11" fmla="*/ 262513 w 260558"/>
                  <a:gd name="connsiteY11" fmla="*/ 131192 h 35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558" h="351754">
                    <a:moveTo>
                      <a:pt x="262513" y="131192"/>
                    </a:moveTo>
                    <a:cubicBezTo>
                      <a:pt x="262513" y="143959"/>
                      <a:pt x="260689" y="156205"/>
                      <a:pt x="257302" y="167800"/>
                    </a:cubicBezTo>
                    <a:cubicBezTo>
                      <a:pt x="257041" y="168712"/>
                      <a:pt x="256781" y="169494"/>
                      <a:pt x="256520" y="170275"/>
                    </a:cubicBezTo>
                    <a:cubicBezTo>
                      <a:pt x="256520" y="170275"/>
                      <a:pt x="249485" y="186039"/>
                      <a:pt x="246228" y="194507"/>
                    </a:cubicBezTo>
                    <a:cubicBezTo>
                      <a:pt x="218348" y="265119"/>
                      <a:pt x="197894" y="358008"/>
                      <a:pt x="197894" y="358008"/>
                    </a:cubicBezTo>
                    <a:lnTo>
                      <a:pt x="64749" y="358008"/>
                    </a:lnTo>
                    <a:cubicBezTo>
                      <a:pt x="64749" y="358008"/>
                      <a:pt x="44425" y="265770"/>
                      <a:pt x="16676" y="195289"/>
                    </a:cubicBezTo>
                    <a:cubicBezTo>
                      <a:pt x="13028" y="186169"/>
                      <a:pt x="9380" y="177441"/>
                      <a:pt x="5732" y="169363"/>
                    </a:cubicBezTo>
                    <a:cubicBezTo>
                      <a:pt x="5472" y="168973"/>
                      <a:pt x="5342" y="168451"/>
                      <a:pt x="5211" y="167930"/>
                    </a:cubicBezTo>
                    <a:cubicBezTo>
                      <a:pt x="1824" y="156335"/>
                      <a:pt x="0" y="144089"/>
                      <a:pt x="0" y="131322"/>
                    </a:cubicBezTo>
                    <a:cubicBezTo>
                      <a:pt x="0" y="58756"/>
                      <a:pt x="58886" y="0"/>
                      <a:pt x="131322" y="0"/>
                    </a:cubicBezTo>
                    <a:cubicBezTo>
                      <a:pt x="203757" y="-130"/>
                      <a:pt x="262513" y="58626"/>
                      <a:pt x="262513" y="131192"/>
                    </a:cubicBezTo>
                    <a:close/>
                  </a:path>
                </a:pathLst>
              </a:custGeom>
              <a:noFill/>
              <a:ln w="12700" cap="flat">
                <a:solidFill>
                  <a:schemeClr val="bg1"/>
                </a:solidFill>
                <a:prstDash val="solid"/>
                <a:round/>
              </a:ln>
            </p:spPr>
            <p:txBody>
              <a:bodyPr rtlCol="0" anchor="ctr"/>
              <a:lstStyle/>
              <a:p>
                <a:endParaRPr lang="en-GB" sz="1600" dirty="0"/>
              </a:p>
            </p:txBody>
          </p:sp>
          <p:sp>
            <p:nvSpPr>
              <p:cNvPr id="212" name="Freeform: Shape 387">
                <a:extLst>
                  <a:ext uri="{FF2B5EF4-FFF2-40B4-BE49-F238E27FC236}">
                    <a16:creationId xmlns:a16="http://schemas.microsoft.com/office/drawing/2014/main" id="{BEE58ACF-44F4-E301-98A0-3E583BA1BFEE}"/>
                  </a:ext>
                </a:extLst>
              </p:cNvPr>
              <p:cNvSpPr/>
              <p:nvPr/>
            </p:nvSpPr>
            <p:spPr>
              <a:xfrm>
                <a:off x="8772396" y="4191850"/>
                <a:ext cx="130279" cy="65140"/>
              </a:xfrm>
              <a:custGeom>
                <a:avLst/>
                <a:gdLst>
                  <a:gd name="connsiteX0" fmla="*/ 37130 w 130279"/>
                  <a:gd name="connsiteY0" fmla="*/ 76344 h 65139"/>
                  <a:gd name="connsiteX1" fmla="*/ 95886 w 130279"/>
                  <a:gd name="connsiteY1" fmla="*/ 76344 h 65139"/>
                  <a:gd name="connsiteX2" fmla="*/ 0 w 130279"/>
                  <a:gd name="connsiteY2" fmla="*/ 38172 h 65139"/>
                  <a:gd name="connsiteX3" fmla="*/ 133276 w 130279"/>
                  <a:gd name="connsiteY3" fmla="*/ 38172 h 65139"/>
                  <a:gd name="connsiteX4" fmla="*/ 0 w 130279"/>
                  <a:gd name="connsiteY4" fmla="*/ 0 h 65139"/>
                  <a:gd name="connsiteX5" fmla="*/ 133276 w 130279"/>
                  <a:gd name="connsiteY5" fmla="*/ 0 h 6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79" h="65139">
                    <a:moveTo>
                      <a:pt x="37130" y="76344"/>
                    </a:moveTo>
                    <a:lnTo>
                      <a:pt x="95886" y="76344"/>
                    </a:lnTo>
                    <a:moveTo>
                      <a:pt x="0" y="38172"/>
                    </a:moveTo>
                    <a:lnTo>
                      <a:pt x="133276" y="38172"/>
                    </a:lnTo>
                    <a:moveTo>
                      <a:pt x="0" y="0"/>
                    </a:moveTo>
                    <a:lnTo>
                      <a:pt x="133276" y="0"/>
                    </a:lnTo>
                  </a:path>
                </a:pathLst>
              </a:custGeom>
              <a:noFill/>
              <a:ln w="12700" cap="rnd">
                <a:solidFill>
                  <a:schemeClr val="bg1"/>
                </a:solidFill>
                <a:prstDash val="solid"/>
                <a:round/>
              </a:ln>
            </p:spPr>
            <p:txBody>
              <a:bodyPr rtlCol="0" anchor="ctr"/>
              <a:lstStyle/>
              <a:p>
                <a:endParaRPr lang="en-GB" sz="1600" dirty="0"/>
              </a:p>
            </p:txBody>
          </p:sp>
          <p:sp>
            <p:nvSpPr>
              <p:cNvPr id="213" name="Freeform: Shape 388">
                <a:extLst>
                  <a:ext uri="{FF2B5EF4-FFF2-40B4-BE49-F238E27FC236}">
                    <a16:creationId xmlns:a16="http://schemas.microsoft.com/office/drawing/2014/main" id="{7F133D10-368D-0068-6CE6-755287B99DB9}"/>
                  </a:ext>
                </a:extLst>
              </p:cNvPr>
              <p:cNvSpPr/>
              <p:nvPr/>
            </p:nvSpPr>
            <p:spPr>
              <a:xfrm>
                <a:off x="8949710" y="3891299"/>
                <a:ext cx="221475" cy="325698"/>
              </a:xfrm>
              <a:custGeom>
                <a:avLst/>
                <a:gdLst>
                  <a:gd name="connsiteX0" fmla="*/ 3123 w 221474"/>
                  <a:gd name="connsiteY0" fmla="*/ 303027 h 325698"/>
                  <a:gd name="connsiteX1" fmla="*/ 257 w 221474"/>
                  <a:gd name="connsiteY1" fmla="*/ 317488 h 325698"/>
                  <a:gd name="connsiteX2" fmla="*/ 10940 w 221474"/>
                  <a:gd name="connsiteY2" fmla="*/ 333512 h 325698"/>
                  <a:gd name="connsiteX3" fmla="*/ 35302 w 221474"/>
                  <a:gd name="connsiteY3" fmla="*/ 338463 h 325698"/>
                  <a:gd name="connsiteX4" fmla="*/ 51327 w 221474"/>
                  <a:gd name="connsiteY4" fmla="*/ 327780 h 325698"/>
                  <a:gd name="connsiteX5" fmla="*/ 54193 w 221474"/>
                  <a:gd name="connsiteY5" fmla="*/ 313319 h 325698"/>
                  <a:gd name="connsiteX6" fmla="*/ 114121 w 221474"/>
                  <a:gd name="connsiteY6" fmla="*/ 301333 h 325698"/>
                  <a:gd name="connsiteX7" fmla="*/ 121678 w 221474"/>
                  <a:gd name="connsiteY7" fmla="*/ 312797 h 325698"/>
                  <a:gd name="connsiteX8" fmla="*/ 140438 w 221474"/>
                  <a:gd name="connsiteY8" fmla="*/ 316576 h 325698"/>
                  <a:gd name="connsiteX9" fmla="*/ 161283 w 221474"/>
                  <a:gd name="connsiteY9" fmla="*/ 302766 h 325698"/>
                  <a:gd name="connsiteX10" fmla="*/ 165061 w 221474"/>
                  <a:gd name="connsiteY10" fmla="*/ 284006 h 325698"/>
                  <a:gd name="connsiteX11" fmla="*/ 157244 w 221474"/>
                  <a:gd name="connsiteY11" fmla="*/ 272150 h 325698"/>
                  <a:gd name="connsiteX12" fmla="*/ 190205 w 221474"/>
                  <a:gd name="connsiteY12" fmla="*/ 222774 h 325698"/>
                  <a:gd name="connsiteX13" fmla="*/ 204796 w 221474"/>
                  <a:gd name="connsiteY13" fmla="*/ 225771 h 325698"/>
                  <a:gd name="connsiteX14" fmla="*/ 220690 w 221474"/>
                  <a:gd name="connsiteY14" fmla="*/ 215218 h 325698"/>
                  <a:gd name="connsiteX15" fmla="*/ 225641 w 221474"/>
                  <a:gd name="connsiteY15" fmla="*/ 190726 h 325698"/>
                  <a:gd name="connsiteX16" fmla="*/ 215088 w 221474"/>
                  <a:gd name="connsiteY16" fmla="*/ 174832 h 325698"/>
                  <a:gd name="connsiteX17" fmla="*/ 200497 w 221474"/>
                  <a:gd name="connsiteY17" fmla="*/ 171835 h 325698"/>
                  <a:gd name="connsiteX18" fmla="*/ 186036 w 221474"/>
                  <a:gd name="connsiteY18" fmla="*/ 106305 h 325698"/>
                  <a:gd name="connsiteX19" fmla="*/ 198282 w 221474"/>
                  <a:gd name="connsiteY19" fmla="*/ 98227 h 325698"/>
                  <a:gd name="connsiteX20" fmla="*/ 202060 w 221474"/>
                  <a:gd name="connsiteY20" fmla="*/ 79467 h 325698"/>
                  <a:gd name="connsiteX21" fmla="*/ 188381 w 221474"/>
                  <a:gd name="connsiteY21" fmla="*/ 58622 h 325698"/>
                  <a:gd name="connsiteX22" fmla="*/ 169620 w 221474"/>
                  <a:gd name="connsiteY22" fmla="*/ 54844 h 325698"/>
                  <a:gd name="connsiteX23" fmla="*/ 155420 w 221474"/>
                  <a:gd name="connsiteY23" fmla="*/ 64355 h 325698"/>
                  <a:gd name="connsiteX24" fmla="*/ 110474 w 221474"/>
                  <a:gd name="connsiteY24" fmla="*/ 35693 h 325698"/>
                  <a:gd name="connsiteX25" fmla="*/ 113340 w 221474"/>
                  <a:gd name="connsiteY25" fmla="*/ 21232 h 325698"/>
                  <a:gd name="connsiteX26" fmla="*/ 102657 w 221474"/>
                  <a:gd name="connsiteY26" fmla="*/ 5208 h 325698"/>
                  <a:gd name="connsiteX27" fmla="*/ 78295 w 221474"/>
                  <a:gd name="connsiteY27" fmla="*/ 257 h 325698"/>
                  <a:gd name="connsiteX28" fmla="*/ 62270 w 221474"/>
                  <a:gd name="connsiteY28" fmla="*/ 10940 h 325698"/>
                  <a:gd name="connsiteX29" fmla="*/ 59404 w 221474"/>
                  <a:gd name="connsiteY29" fmla="*/ 25401 h 325698"/>
                  <a:gd name="connsiteX30" fmla="*/ 50675 w 221474"/>
                  <a:gd name="connsiteY30" fmla="*/ 67872 h 325698"/>
                  <a:gd name="connsiteX31" fmla="*/ 76862 w 221474"/>
                  <a:gd name="connsiteY31" fmla="*/ 69696 h 325698"/>
                  <a:gd name="connsiteX32" fmla="*/ 156332 w 221474"/>
                  <a:gd name="connsiteY32" fmla="*/ 189553 h 325698"/>
                  <a:gd name="connsiteX33" fmla="*/ 36475 w 221474"/>
                  <a:gd name="connsiteY33" fmla="*/ 269154 h 325698"/>
                  <a:gd name="connsiteX34" fmla="*/ 11592 w 221474"/>
                  <a:gd name="connsiteY34" fmla="*/ 260686 h 32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474" h="325698">
                    <a:moveTo>
                      <a:pt x="3123" y="303027"/>
                    </a:moveTo>
                    <a:lnTo>
                      <a:pt x="257" y="317488"/>
                    </a:lnTo>
                    <a:cubicBezTo>
                      <a:pt x="-1176" y="324783"/>
                      <a:pt x="3514" y="332079"/>
                      <a:pt x="10940" y="333512"/>
                    </a:cubicBezTo>
                    <a:lnTo>
                      <a:pt x="35302" y="338463"/>
                    </a:lnTo>
                    <a:cubicBezTo>
                      <a:pt x="42598" y="339896"/>
                      <a:pt x="49763" y="335206"/>
                      <a:pt x="51327" y="327780"/>
                    </a:cubicBezTo>
                    <a:lnTo>
                      <a:pt x="54193" y="313319"/>
                    </a:lnTo>
                    <a:cubicBezTo>
                      <a:pt x="75298" y="313709"/>
                      <a:pt x="95622" y="309541"/>
                      <a:pt x="114121" y="301333"/>
                    </a:cubicBezTo>
                    <a:lnTo>
                      <a:pt x="121678" y="312797"/>
                    </a:lnTo>
                    <a:cubicBezTo>
                      <a:pt x="125847" y="319051"/>
                      <a:pt x="134315" y="320745"/>
                      <a:pt x="140438" y="316576"/>
                    </a:cubicBezTo>
                    <a:lnTo>
                      <a:pt x="161283" y="302766"/>
                    </a:lnTo>
                    <a:cubicBezTo>
                      <a:pt x="167536" y="298597"/>
                      <a:pt x="169230" y="290259"/>
                      <a:pt x="165061" y="284006"/>
                    </a:cubicBezTo>
                    <a:lnTo>
                      <a:pt x="157244" y="272150"/>
                    </a:lnTo>
                    <a:cubicBezTo>
                      <a:pt x="171314" y="258471"/>
                      <a:pt x="182648" y="241795"/>
                      <a:pt x="190205" y="222774"/>
                    </a:cubicBezTo>
                    <a:lnTo>
                      <a:pt x="204796" y="225771"/>
                    </a:lnTo>
                    <a:cubicBezTo>
                      <a:pt x="212092" y="227204"/>
                      <a:pt x="219257" y="222514"/>
                      <a:pt x="220690" y="215218"/>
                    </a:cubicBezTo>
                    <a:lnTo>
                      <a:pt x="225641" y="190726"/>
                    </a:lnTo>
                    <a:cubicBezTo>
                      <a:pt x="227074" y="183430"/>
                      <a:pt x="222384" y="176265"/>
                      <a:pt x="215088" y="174832"/>
                    </a:cubicBezTo>
                    <a:lnTo>
                      <a:pt x="200497" y="171835"/>
                    </a:lnTo>
                    <a:cubicBezTo>
                      <a:pt x="201018" y="148776"/>
                      <a:pt x="195807" y="126368"/>
                      <a:pt x="186036" y="106305"/>
                    </a:cubicBezTo>
                    <a:lnTo>
                      <a:pt x="198282" y="98227"/>
                    </a:lnTo>
                    <a:cubicBezTo>
                      <a:pt x="204535" y="94058"/>
                      <a:pt x="206229" y="85721"/>
                      <a:pt x="202060" y="79467"/>
                    </a:cubicBezTo>
                    <a:lnTo>
                      <a:pt x="188381" y="58622"/>
                    </a:lnTo>
                    <a:cubicBezTo>
                      <a:pt x="184212" y="52369"/>
                      <a:pt x="175874" y="50675"/>
                      <a:pt x="169620" y="54844"/>
                    </a:cubicBezTo>
                    <a:lnTo>
                      <a:pt x="155420" y="64355"/>
                    </a:lnTo>
                    <a:cubicBezTo>
                      <a:pt x="142653" y="52369"/>
                      <a:pt x="127410" y="42468"/>
                      <a:pt x="110474" y="35693"/>
                    </a:cubicBezTo>
                    <a:lnTo>
                      <a:pt x="113340" y="21232"/>
                    </a:lnTo>
                    <a:cubicBezTo>
                      <a:pt x="114773" y="13937"/>
                      <a:pt x="110083" y="6771"/>
                      <a:pt x="102657" y="5208"/>
                    </a:cubicBezTo>
                    <a:lnTo>
                      <a:pt x="78295" y="257"/>
                    </a:lnTo>
                    <a:cubicBezTo>
                      <a:pt x="70999" y="-1176"/>
                      <a:pt x="63703" y="3514"/>
                      <a:pt x="62270" y="10940"/>
                    </a:cubicBezTo>
                    <a:lnTo>
                      <a:pt x="59404" y="25401"/>
                    </a:lnTo>
                    <a:moveTo>
                      <a:pt x="50675" y="67872"/>
                    </a:moveTo>
                    <a:cubicBezTo>
                      <a:pt x="59274" y="67351"/>
                      <a:pt x="68003" y="68003"/>
                      <a:pt x="76862" y="69696"/>
                    </a:cubicBezTo>
                    <a:cubicBezTo>
                      <a:pt x="131839" y="80770"/>
                      <a:pt x="167536" y="134575"/>
                      <a:pt x="156332" y="189553"/>
                    </a:cubicBezTo>
                    <a:cubicBezTo>
                      <a:pt x="145258" y="244531"/>
                      <a:pt x="91583" y="280228"/>
                      <a:pt x="36475" y="269154"/>
                    </a:cubicBezTo>
                    <a:cubicBezTo>
                      <a:pt x="27616" y="267330"/>
                      <a:pt x="19278" y="264464"/>
                      <a:pt x="11592" y="260686"/>
                    </a:cubicBezTo>
                  </a:path>
                </a:pathLst>
              </a:custGeom>
              <a:noFill/>
              <a:ln w="12700" cap="rnd">
                <a:solidFill>
                  <a:schemeClr val="bg1"/>
                </a:solidFill>
                <a:prstDash val="solid"/>
                <a:miter/>
              </a:ln>
            </p:spPr>
            <p:txBody>
              <a:bodyPr rtlCol="0" anchor="ctr"/>
              <a:lstStyle/>
              <a:p>
                <a:endParaRPr lang="en-GB" sz="1600" dirty="0"/>
              </a:p>
            </p:txBody>
          </p:sp>
        </p:grpSp>
      </p:grpSp>
      <p:grpSp>
        <p:nvGrpSpPr>
          <p:cNvPr id="214" name="Group 213">
            <a:extLst>
              <a:ext uri="{FF2B5EF4-FFF2-40B4-BE49-F238E27FC236}">
                <a16:creationId xmlns:a16="http://schemas.microsoft.com/office/drawing/2014/main" id="{1D0E7B0F-AF0C-8BC9-143F-033AB76D9167}"/>
              </a:ext>
              <a:ext uri="{C183D7F6-B498-43B3-948B-1728B52AA6E4}">
                <adec:decorative xmlns:adec="http://schemas.microsoft.com/office/drawing/2017/decorative" val="1"/>
              </a:ext>
            </a:extLst>
          </p:cNvPr>
          <p:cNvGrpSpPr/>
          <p:nvPr userDrawn="1"/>
        </p:nvGrpSpPr>
        <p:grpSpPr>
          <a:xfrm>
            <a:off x="670282" y="3265284"/>
            <a:ext cx="792000" cy="792000"/>
            <a:chOff x="616942" y="2848838"/>
            <a:chExt cx="792000" cy="792000"/>
          </a:xfrm>
        </p:grpSpPr>
        <p:sp>
          <p:nvSpPr>
            <p:cNvPr id="215" name="Oval 214">
              <a:extLst>
                <a:ext uri="{FF2B5EF4-FFF2-40B4-BE49-F238E27FC236}">
                  <a16:creationId xmlns:a16="http://schemas.microsoft.com/office/drawing/2014/main" id="{3D4884F7-261F-5BD8-A67A-60CD9EF4C32D}"/>
                </a:ext>
              </a:extLst>
            </p:cNvPr>
            <p:cNvSpPr/>
            <p:nvPr userDrawn="1"/>
          </p:nvSpPr>
          <p:spPr>
            <a:xfrm>
              <a:off x="616942" y="2848838"/>
              <a:ext cx="792000" cy="792000"/>
            </a:xfrm>
            <a:prstGeom prst="ellipse">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216" name="Group 215">
              <a:extLst>
                <a:ext uri="{FF2B5EF4-FFF2-40B4-BE49-F238E27FC236}">
                  <a16:creationId xmlns:a16="http://schemas.microsoft.com/office/drawing/2014/main" id="{E4836CDD-2918-55C8-8A51-7BADB3294DE2}"/>
                </a:ext>
              </a:extLst>
            </p:cNvPr>
            <p:cNvGrpSpPr>
              <a:grpSpLocks noChangeAspect="1"/>
            </p:cNvGrpSpPr>
            <p:nvPr userDrawn="1"/>
          </p:nvGrpSpPr>
          <p:grpSpPr>
            <a:xfrm>
              <a:off x="861436" y="2993589"/>
              <a:ext cx="303012" cy="502498"/>
              <a:chOff x="7330925" y="1169779"/>
              <a:chExt cx="343825" cy="570179"/>
            </a:xfrm>
          </p:grpSpPr>
          <p:sp>
            <p:nvSpPr>
              <p:cNvPr id="217" name="Freeform: Shape 182">
                <a:extLst>
                  <a:ext uri="{FF2B5EF4-FFF2-40B4-BE49-F238E27FC236}">
                    <a16:creationId xmlns:a16="http://schemas.microsoft.com/office/drawing/2014/main" id="{8221EB50-05D6-C0E3-030A-C9BF7F5D0BEB}"/>
                  </a:ext>
                </a:extLst>
              </p:cNvPr>
              <p:cNvSpPr/>
              <p:nvPr/>
            </p:nvSpPr>
            <p:spPr>
              <a:xfrm>
                <a:off x="7361324" y="1169779"/>
                <a:ext cx="313426" cy="261189"/>
              </a:xfrm>
              <a:custGeom>
                <a:avLst/>
                <a:gdLst>
                  <a:gd name="connsiteX0" fmla="*/ 198428 w 228600"/>
                  <a:gd name="connsiteY0" fmla="*/ 198409 h 190500"/>
                  <a:gd name="connsiteX1" fmla="*/ 232432 w 228600"/>
                  <a:gd name="connsiteY1" fmla="*/ 116209 h 190500"/>
                  <a:gd name="connsiteX2" fmla="*/ 198428 w 228600"/>
                  <a:gd name="connsiteY2" fmla="*/ 34008 h 190500"/>
                  <a:gd name="connsiteX3" fmla="*/ 188045 w 228600"/>
                  <a:gd name="connsiteY3" fmla="*/ 24769 h 190500"/>
                  <a:gd name="connsiteX4" fmla="*/ 64506 w 228600"/>
                  <a:gd name="connsiteY4" fmla="*/ 12100 h 190500"/>
                  <a:gd name="connsiteX5" fmla="*/ 61554 w 228600"/>
                  <a:gd name="connsiteY5" fmla="*/ 13624 h 190500"/>
                  <a:gd name="connsiteX6" fmla="*/ 34026 w 228600"/>
                  <a:gd name="connsiteY6" fmla="*/ 34008 h 190500"/>
                  <a:gd name="connsiteX7" fmla="*/ 593 w 228600"/>
                  <a:gd name="connsiteY7" fmla="*/ 104493 h 190500"/>
                  <a:gd name="connsiteX8" fmla="*/ 18501 w 228600"/>
                  <a:gd name="connsiteY8" fmla="*/ 179169 h 190500"/>
                  <a:gd name="connsiteX9" fmla="*/ 34026 w 228600"/>
                  <a:gd name="connsiteY9" fmla="*/ 19840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90500">
                    <a:moveTo>
                      <a:pt x="198428" y="198409"/>
                    </a:moveTo>
                    <a:cubicBezTo>
                      <a:pt x="220335" y="176407"/>
                      <a:pt x="232432" y="147260"/>
                      <a:pt x="232432" y="116209"/>
                    </a:cubicBezTo>
                    <a:cubicBezTo>
                      <a:pt x="232432" y="85157"/>
                      <a:pt x="220335" y="56011"/>
                      <a:pt x="198428" y="34008"/>
                    </a:cubicBezTo>
                    <a:cubicBezTo>
                      <a:pt x="195189" y="30769"/>
                      <a:pt x="191665" y="27626"/>
                      <a:pt x="188045" y="24769"/>
                    </a:cubicBezTo>
                    <a:cubicBezTo>
                      <a:pt x="152993" y="-2854"/>
                      <a:pt x="104511" y="-7807"/>
                      <a:pt x="64506" y="12100"/>
                    </a:cubicBezTo>
                    <a:cubicBezTo>
                      <a:pt x="64030" y="12386"/>
                      <a:pt x="62125" y="13339"/>
                      <a:pt x="61554" y="13624"/>
                    </a:cubicBezTo>
                    <a:cubicBezTo>
                      <a:pt x="51457" y="19054"/>
                      <a:pt x="42218" y="25912"/>
                      <a:pt x="34026" y="34008"/>
                    </a:cubicBezTo>
                    <a:cubicBezTo>
                      <a:pt x="15167" y="52867"/>
                      <a:pt x="3261" y="77918"/>
                      <a:pt x="593" y="104493"/>
                    </a:cubicBezTo>
                    <a:cubicBezTo>
                      <a:pt x="-2073" y="130687"/>
                      <a:pt x="4308" y="157166"/>
                      <a:pt x="18501" y="179169"/>
                    </a:cubicBezTo>
                    <a:cubicBezTo>
                      <a:pt x="22977" y="186122"/>
                      <a:pt x="28216" y="192599"/>
                      <a:pt x="34026" y="198409"/>
                    </a:cubicBezTo>
                  </a:path>
                </a:pathLst>
              </a:custGeom>
              <a:noFill/>
              <a:ln w="12700" cap="rnd">
                <a:solidFill>
                  <a:schemeClr val="bg1"/>
                </a:solidFill>
                <a:prstDash val="solid"/>
                <a:miter/>
              </a:ln>
            </p:spPr>
            <p:txBody>
              <a:bodyPr rtlCol="0" anchor="ctr"/>
              <a:lstStyle/>
              <a:p>
                <a:endParaRPr lang="en-GB" sz="1600" dirty="0"/>
              </a:p>
            </p:txBody>
          </p:sp>
          <p:sp>
            <p:nvSpPr>
              <p:cNvPr id="218" name="Freeform: Shape 183">
                <a:extLst>
                  <a:ext uri="{FF2B5EF4-FFF2-40B4-BE49-F238E27FC236}">
                    <a16:creationId xmlns:a16="http://schemas.microsoft.com/office/drawing/2014/main" id="{24B0BB4C-6F65-D47F-CDCD-8B12A63F20B1}"/>
                  </a:ext>
                </a:extLst>
              </p:cNvPr>
              <p:cNvSpPr/>
              <p:nvPr/>
            </p:nvSpPr>
            <p:spPr>
              <a:xfrm>
                <a:off x="7420031" y="1228656"/>
                <a:ext cx="195891" cy="169773"/>
              </a:xfrm>
              <a:custGeom>
                <a:avLst/>
                <a:gdLst>
                  <a:gd name="connsiteX0" fmla="*/ 125320 w 142875"/>
                  <a:gd name="connsiteY0" fmla="*/ 125272 h 123825"/>
                  <a:gd name="connsiteX1" fmla="*/ 125320 w 142875"/>
                  <a:gd name="connsiteY1" fmla="*/ 21449 h 123825"/>
                  <a:gd name="connsiteX2" fmla="*/ 118748 w 142875"/>
                  <a:gd name="connsiteY2" fmla="*/ 15639 h 123825"/>
                  <a:gd name="connsiteX3" fmla="*/ 40643 w 142875"/>
                  <a:gd name="connsiteY3" fmla="*/ 7638 h 123825"/>
                  <a:gd name="connsiteX4" fmla="*/ 38833 w 142875"/>
                  <a:gd name="connsiteY4" fmla="*/ 8590 h 123825"/>
                  <a:gd name="connsiteX5" fmla="*/ 21497 w 142875"/>
                  <a:gd name="connsiteY5" fmla="*/ 21449 h 123825"/>
                  <a:gd name="connsiteX6" fmla="*/ 352 w 142875"/>
                  <a:gd name="connsiteY6" fmla="*/ 66026 h 123825"/>
                  <a:gd name="connsiteX7" fmla="*/ 11686 w 142875"/>
                  <a:gd name="connsiteY7" fmla="*/ 113175 h 123825"/>
                  <a:gd name="connsiteX8" fmla="*/ 21497 w 142875"/>
                  <a:gd name="connsiteY8" fmla="*/ 12536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23825">
                    <a:moveTo>
                      <a:pt x="125320" y="125272"/>
                    </a:moveTo>
                    <a:cubicBezTo>
                      <a:pt x="153990" y="96601"/>
                      <a:pt x="153990" y="50024"/>
                      <a:pt x="125320" y="21449"/>
                    </a:cubicBezTo>
                    <a:cubicBezTo>
                      <a:pt x="123224" y="19354"/>
                      <a:pt x="121034" y="17449"/>
                      <a:pt x="118748" y="15639"/>
                    </a:cubicBezTo>
                    <a:cubicBezTo>
                      <a:pt x="96554" y="-1792"/>
                      <a:pt x="65979" y="-4935"/>
                      <a:pt x="40643" y="7638"/>
                    </a:cubicBezTo>
                    <a:lnTo>
                      <a:pt x="38833" y="8590"/>
                    </a:lnTo>
                    <a:cubicBezTo>
                      <a:pt x="32451" y="12019"/>
                      <a:pt x="26641" y="16306"/>
                      <a:pt x="21497" y="21449"/>
                    </a:cubicBezTo>
                    <a:cubicBezTo>
                      <a:pt x="9591" y="33355"/>
                      <a:pt x="2067" y="49167"/>
                      <a:pt x="352" y="66026"/>
                    </a:cubicBezTo>
                    <a:cubicBezTo>
                      <a:pt x="-1268" y="82600"/>
                      <a:pt x="2733" y="99364"/>
                      <a:pt x="11686" y="113175"/>
                    </a:cubicBezTo>
                    <a:cubicBezTo>
                      <a:pt x="14544" y="117556"/>
                      <a:pt x="17782" y="121652"/>
                      <a:pt x="21497" y="125367"/>
                    </a:cubicBezTo>
                  </a:path>
                </a:pathLst>
              </a:custGeom>
              <a:noFill/>
              <a:ln w="12700" cap="rnd">
                <a:solidFill>
                  <a:schemeClr val="bg1"/>
                </a:solidFill>
                <a:prstDash val="solid"/>
                <a:miter/>
              </a:ln>
            </p:spPr>
            <p:txBody>
              <a:bodyPr rtlCol="0" anchor="ctr"/>
              <a:lstStyle/>
              <a:p>
                <a:endParaRPr lang="en-GB" sz="1600" dirty="0"/>
              </a:p>
            </p:txBody>
          </p:sp>
          <p:sp>
            <p:nvSpPr>
              <p:cNvPr id="219" name="Freeform: Shape 184">
                <a:extLst>
                  <a:ext uri="{FF2B5EF4-FFF2-40B4-BE49-F238E27FC236}">
                    <a16:creationId xmlns:a16="http://schemas.microsoft.com/office/drawing/2014/main" id="{FEB05D38-2E1E-1DF8-C690-4EE682F978CE}"/>
                  </a:ext>
                </a:extLst>
              </p:cNvPr>
              <p:cNvSpPr/>
              <p:nvPr/>
            </p:nvSpPr>
            <p:spPr>
              <a:xfrm>
                <a:off x="7330925" y="1335116"/>
                <a:ext cx="274248" cy="404842"/>
              </a:xfrm>
              <a:custGeom>
                <a:avLst/>
                <a:gdLst>
                  <a:gd name="connsiteX0" fmla="*/ 133445 w 200025"/>
                  <a:gd name="connsiteY0" fmla="*/ 297371 h 295275"/>
                  <a:gd name="connsiteX1" fmla="*/ 44863 w 200025"/>
                  <a:gd name="connsiteY1" fmla="*/ 297371 h 295275"/>
                  <a:gd name="connsiteX2" fmla="*/ 286 w 200025"/>
                  <a:gd name="connsiteY2" fmla="*/ 252889 h 295275"/>
                  <a:gd name="connsiteX3" fmla="*/ 0 w 200025"/>
                  <a:gd name="connsiteY3" fmla="*/ 125540 h 295275"/>
                  <a:gd name="connsiteX4" fmla="*/ 23908 w 200025"/>
                  <a:gd name="connsiteY4" fmla="*/ 98870 h 295275"/>
                  <a:gd name="connsiteX5" fmla="*/ 24289 w 200025"/>
                  <a:gd name="connsiteY5" fmla="*/ 98870 h 295275"/>
                  <a:gd name="connsiteX6" fmla="*/ 42672 w 200025"/>
                  <a:gd name="connsiteY6" fmla="*/ 105346 h 295275"/>
                  <a:gd name="connsiteX7" fmla="*/ 61817 w 200025"/>
                  <a:gd name="connsiteY7" fmla="*/ 97917 h 295275"/>
                  <a:gd name="connsiteX8" fmla="*/ 81439 w 200025"/>
                  <a:gd name="connsiteY8" fmla="*/ 105537 h 295275"/>
                  <a:gd name="connsiteX9" fmla="*/ 100394 w 200025"/>
                  <a:gd name="connsiteY9" fmla="*/ 97917 h 295275"/>
                  <a:gd name="connsiteX10" fmla="*/ 113538 w 200025"/>
                  <a:gd name="connsiteY10" fmla="*/ 100870 h 295275"/>
                  <a:gd name="connsiteX11" fmla="*/ 113538 w 200025"/>
                  <a:gd name="connsiteY11" fmla="*/ 27718 h 295275"/>
                  <a:gd name="connsiteX12" fmla="*/ 138208 w 200025"/>
                  <a:gd name="connsiteY12" fmla="*/ 0 h 295275"/>
                  <a:gd name="connsiteX13" fmla="*/ 155448 w 200025"/>
                  <a:gd name="connsiteY13" fmla="*/ 6382 h 295275"/>
                  <a:gd name="connsiteX14" fmla="*/ 162496 w 200025"/>
                  <a:gd name="connsiteY14" fmla="*/ 27527 h 295275"/>
                  <a:gd name="connsiteX15" fmla="*/ 162496 w 200025"/>
                  <a:gd name="connsiteY15" fmla="*/ 27813 h 295275"/>
                  <a:gd name="connsiteX16" fmla="*/ 162496 w 200025"/>
                  <a:gd name="connsiteY16" fmla="*/ 132683 h 295275"/>
                  <a:gd name="connsiteX17" fmla="*/ 175832 w 200025"/>
                  <a:gd name="connsiteY17" fmla="*/ 129159 h 295275"/>
                  <a:gd name="connsiteX18" fmla="*/ 193263 w 200025"/>
                  <a:gd name="connsiteY18" fmla="*/ 135731 h 295275"/>
                  <a:gd name="connsiteX19" fmla="*/ 200311 w 200025"/>
                  <a:gd name="connsiteY19" fmla="*/ 156591 h 295275"/>
                  <a:gd name="connsiteX20" fmla="*/ 200311 w 200025"/>
                  <a:gd name="connsiteY20" fmla="*/ 156782 h 295275"/>
                  <a:gd name="connsiteX21" fmla="*/ 200120 w 200025"/>
                  <a:gd name="connsiteY21" fmla="*/ 158210 h 295275"/>
                  <a:gd name="connsiteX22" fmla="*/ 170022 w 200025"/>
                  <a:gd name="connsiteY22" fmla="*/ 269462 h 295275"/>
                  <a:gd name="connsiteX23" fmla="*/ 133445 w 200025"/>
                  <a:gd name="connsiteY23" fmla="*/ 29737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025" h="295275">
                    <a:moveTo>
                      <a:pt x="133445" y="297371"/>
                    </a:moveTo>
                    <a:lnTo>
                      <a:pt x="44863" y="297371"/>
                    </a:lnTo>
                    <a:cubicBezTo>
                      <a:pt x="20384" y="297371"/>
                      <a:pt x="381" y="277463"/>
                      <a:pt x="286" y="252889"/>
                    </a:cubicBezTo>
                    <a:lnTo>
                      <a:pt x="0" y="125540"/>
                    </a:lnTo>
                    <a:cubicBezTo>
                      <a:pt x="0" y="108966"/>
                      <a:pt x="8858" y="98965"/>
                      <a:pt x="23908" y="98870"/>
                    </a:cubicBezTo>
                    <a:lnTo>
                      <a:pt x="24289" y="98870"/>
                    </a:lnTo>
                    <a:cubicBezTo>
                      <a:pt x="33242" y="98870"/>
                      <a:pt x="38958" y="101727"/>
                      <a:pt x="42672" y="105346"/>
                    </a:cubicBezTo>
                    <a:cubicBezTo>
                      <a:pt x="46863" y="100584"/>
                      <a:pt x="53436" y="97917"/>
                      <a:pt x="61817" y="97917"/>
                    </a:cubicBezTo>
                    <a:cubicBezTo>
                      <a:pt x="70390" y="97917"/>
                      <a:pt x="77058" y="100584"/>
                      <a:pt x="81439" y="105537"/>
                    </a:cubicBezTo>
                    <a:cubicBezTo>
                      <a:pt x="85725" y="100584"/>
                      <a:pt x="92202" y="97917"/>
                      <a:pt x="100394" y="97917"/>
                    </a:cubicBezTo>
                    <a:cubicBezTo>
                      <a:pt x="105442" y="97917"/>
                      <a:pt x="109919" y="98965"/>
                      <a:pt x="113538" y="100870"/>
                    </a:cubicBezTo>
                    <a:lnTo>
                      <a:pt x="113538" y="27718"/>
                    </a:lnTo>
                    <a:cubicBezTo>
                      <a:pt x="113538" y="2667"/>
                      <a:pt x="130779" y="0"/>
                      <a:pt x="138208" y="0"/>
                    </a:cubicBezTo>
                    <a:cubicBezTo>
                      <a:pt x="145447" y="0"/>
                      <a:pt x="151257" y="2096"/>
                      <a:pt x="155448" y="6382"/>
                    </a:cubicBezTo>
                    <a:cubicBezTo>
                      <a:pt x="162496" y="13430"/>
                      <a:pt x="162496" y="24003"/>
                      <a:pt x="162496" y="27527"/>
                    </a:cubicBezTo>
                    <a:lnTo>
                      <a:pt x="162496" y="27813"/>
                    </a:lnTo>
                    <a:lnTo>
                      <a:pt x="162496" y="132683"/>
                    </a:lnTo>
                    <a:cubicBezTo>
                      <a:pt x="165831" y="130493"/>
                      <a:pt x="170212" y="129159"/>
                      <a:pt x="175832" y="129159"/>
                    </a:cubicBezTo>
                    <a:cubicBezTo>
                      <a:pt x="183071" y="129159"/>
                      <a:pt x="188976" y="131350"/>
                      <a:pt x="193263" y="135731"/>
                    </a:cubicBezTo>
                    <a:cubicBezTo>
                      <a:pt x="196596" y="139065"/>
                      <a:pt x="200501" y="145447"/>
                      <a:pt x="200311" y="156591"/>
                    </a:cubicBezTo>
                    <a:lnTo>
                      <a:pt x="200311" y="156782"/>
                    </a:lnTo>
                    <a:cubicBezTo>
                      <a:pt x="200311" y="157258"/>
                      <a:pt x="200216" y="157734"/>
                      <a:pt x="200120" y="158210"/>
                    </a:cubicBezTo>
                    <a:lnTo>
                      <a:pt x="170022" y="269462"/>
                    </a:lnTo>
                    <a:cubicBezTo>
                      <a:pt x="165545" y="285845"/>
                      <a:pt x="150495" y="297371"/>
                      <a:pt x="133445" y="297371"/>
                    </a:cubicBezTo>
                    <a:close/>
                  </a:path>
                </a:pathLst>
              </a:custGeom>
              <a:noFill/>
              <a:ln w="12700" cap="rnd">
                <a:solidFill>
                  <a:schemeClr val="bg1"/>
                </a:solidFill>
                <a:prstDash val="solid"/>
                <a:round/>
              </a:ln>
            </p:spPr>
            <p:txBody>
              <a:bodyPr rtlCol="0" anchor="ctr"/>
              <a:lstStyle/>
              <a:p>
                <a:endParaRPr lang="en-GB" sz="1600" dirty="0"/>
              </a:p>
            </p:txBody>
          </p:sp>
          <p:sp>
            <p:nvSpPr>
              <p:cNvPr id="220" name="Freeform: Shape 185">
                <a:extLst>
                  <a:ext uri="{FF2B5EF4-FFF2-40B4-BE49-F238E27FC236}">
                    <a16:creationId xmlns:a16="http://schemas.microsoft.com/office/drawing/2014/main" id="{B5D04CC8-6A4D-C52C-5DF0-A0A1E351E235}"/>
                  </a:ext>
                </a:extLst>
              </p:cNvPr>
              <p:cNvSpPr/>
              <p:nvPr/>
            </p:nvSpPr>
            <p:spPr>
              <a:xfrm>
                <a:off x="7482208" y="1290305"/>
                <a:ext cx="65297" cy="52238"/>
              </a:xfrm>
              <a:custGeom>
                <a:avLst/>
                <a:gdLst>
                  <a:gd name="connsiteX0" fmla="*/ 5293 w 47625"/>
                  <a:gd name="connsiteY0" fmla="*/ 44874 h 38100"/>
                  <a:gd name="connsiteX1" fmla="*/ 7294 w 47625"/>
                  <a:gd name="connsiteY1" fmla="*/ 9346 h 38100"/>
                  <a:gd name="connsiteX2" fmla="*/ 13771 w 47625"/>
                  <a:gd name="connsiteY2" fmla="*/ 4012 h 38100"/>
                  <a:gd name="connsiteX3" fmla="*/ 14438 w 47625"/>
                  <a:gd name="connsiteY3" fmla="*/ 3631 h 38100"/>
                  <a:gd name="connsiteX4" fmla="*/ 44727 w 47625"/>
                  <a:gd name="connsiteY4" fmla="*/ 5155 h 38100"/>
                  <a:gd name="connsiteX5" fmla="*/ 47394 w 47625"/>
                  <a:gd name="connsiteY5" fmla="*/ 7251 h 38100"/>
                  <a:gd name="connsiteX6" fmla="*/ 51204 w 47625"/>
                  <a:gd name="connsiteY6" fmla="*/ 4506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38100">
                    <a:moveTo>
                      <a:pt x="5293" y="44874"/>
                    </a:moveTo>
                    <a:cubicBezTo>
                      <a:pt x="-2422" y="34111"/>
                      <a:pt x="-1660" y="19157"/>
                      <a:pt x="7294" y="9346"/>
                    </a:cubicBezTo>
                    <a:cubicBezTo>
                      <a:pt x="9198" y="7251"/>
                      <a:pt x="11390" y="5441"/>
                      <a:pt x="13771" y="4012"/>
                    </a:cubicBezTo>
                    <a:lnTo>
                      <a:pt x="14438" y="3631"/>
                    </a:lnTo>
                    <a:cubicBezTo>
                      <a:pt x="23963" y="-1703"/>
                      <a:pt x="35869" y="-1131"/>
                      <a:pt x="44727" y="5155"/>
                    </a:cubicBezTo>
                    <a:cubicBezTo>
                      <a:pt x="45679" y="5822"/>
                      <a:pt x="46537" y="6489"/>
                      <a:pt x="47394" y="7251"/>
                    </a:cubicBezTo>
                    <a:cubicBezTo>
                      <a:pt x="58252" y="17061"/>
                      <a:pt x="59872" y="33349"/>
                      <a:pt x="51204" y="45065"/>
                    </a:cubicBezTo>
                  </a:path>
                </a:pathLst>
              </a:custGeom>
              <a:noFill/>
              <a:ln w="12700" cap="rnd">
                <a:solidFill>
                  <a:schemeClr val="bg1"/>
                </a:solidFill>
                <a:prstDash val="solid"/>
                <a:miter/>
              </a:ln>
            </p:spPr>
            <p:txBody>
              <a:bodyPr rtlCol="0" anchor="ctr"/>
              <a:lstStyle/>
              <a:p>
                <a:endParaRPr lang="en-GB" sz="1600" dirty="0"/>
              </a:p>
            </p:txBody>
          </p:sp>
        </p:grpSp>
      </p:grpSp>
      <p:grpSp>
        <p:nvGrpSpPr>
          <p:cNvPr id="221" name="Group 220">
            <a:extLst>
              <a:ext uri="{FF2B5EF4-FFF2-40B4-BE49-F238E27FC236}">
                <a16:creationId xmlns:a16="http://schemas.microsoft.com/office/drawing/2014/main" id="{09CD7B70-45FD-4292-2180-090E64A10F74}"/>
              </a:ext>
              <a:ext uri="{C183D7F6-B498-43B3-948B-1728B52AA6E4}">
                <adec:decorative xmlns:adec="http://schemas.microsoft.com/office/drawing/2017/decorative" val="1"/>
              </a:ext>
            </a:extLst>
          </p:cNvPr>
          <p:cNvGrpSpPr/>
          <p:nvPr userDrawn="1"/>
        </p:nvGrpSpPr>
        <p:grpSpPr>
          <a:xfrm>
            <a:off x="6610110" y="3477486"/>
            <a:ext cx="367596" cy="367596"/>
            <a:chOff x="6151532" y="1261203"/>
            <a:chExt cx="481497" cy="481497"/>
          </a:xfrm>
        </p:grpSpPr>
        <p:sp>
          <p:nvSpPr>
            <p:cNvPr id="222" name="Freeform: Shape 156">
              <a:extLst>
                <a:ext uri="{FF2B5EF4-FFF2-40B4-BE49-F238E27FC236}">
                  <a16:creationId xmlns:a16="http://schemas.microsoft.com/office/drawing/2014/main" id="{A752C42D-CC4D-7AA3-93BB-724CD2F524E0}"/>
                </a:ext>
              </a:extLst>
            </p:cNvPr>
            <p:cNvSpPr/>
            <p:nvPr/>
          </p:nvSpPr>
          <p:spPr>
            <a:xfrm>
              <a:off x="6162237" y="1271778"/>
              <a:ext cx="457080" cy="457080"/>
            </a:xfrm>
            <a:custGeom>
              <a:avLst/>
              <a:gdLst>
                <a:gd name="connsiteX0" fmla="*/ 112871 w 333375"/>
                <a:gd name="connsiteY0" fmla="*/ 204883 h 333375"/>
                <a:gd name="connsiteX1" fmla="*/ 106871 w 333375"/>
                <a:gd name="connsiteY1" fmla="*/ 198882 h 333375"/>
                <a:gd name="connsiteX2" fmla="*/ 305753 w 333375"/>
                <a:gd name="connsiteY2" fmla="*/ 0 h 333375"/>
                <a:gd name="connsiteX3" fmla="*/ 341947 w 333375"/>
                <a:gd name="connsiteY3" fmla="*/ 36290 h 333375"/>
                <a:gd name="connsiteX4" fmla="*/ 143066 w 333375"/>
                <a:gd name="connsiteY4" fmla="*/ 235172 h 333375"/>
                <a:gd name="connsiteX5" fmla="*/ 137160 w 333375"/>
                <a:gd name="connsiteY5" fmla="*/ 229267 h 333375"/>
                <a:gd name="connsiteX6" fmla="*/ 92393 w 333375"/>
                <a:gd name="connsiteY6" fmla="*/ 274034 h 333375"/>
                <a:gd name="connsiteX7" fmla="*/ 74771 w 333375"/>
                <a:gd name="connsiteY7" fmla="*/ 307181 h 333375"/>
                <a:gd name="connsiteX8" fmla="*/ 24289 w 333375"/>
                <a:gd name="connsiteY8" fmla="*/ 342043 h 333375"/>
                <a:gd name="connsiteX9" fmla="*/ 0 w 333375"/>
                <a:gd name="connsiteY9" fmla="*/ 317754 h 333375"/>
                <a:gd name="connsiteX10" fmla="*/ 34862 w 333375"/>
                <a:gd name="connsiteY10" fmla="*/ 267272 h 333375"/>
                <a:gd name="connsiteX11" fmla="*/ 68009 w 333375"/>
                <a:gd name="connsiteY11" fmla="*/ 24974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112871" y="204883"/>
                  </a:moveTo>
                  <a:lnTo>
                    <a:pt x="106871" y="198882"/>
                  </a:lnTo>
                  <a:lnTo>
                    <a:pt x="305753" y="0"/>
                  </a:lnTo>
                  <a:lnTo>
                    <a:pt x="341947" y="36290"/>
                  </a:lnTo>
                  <a:lnTo>
                    <a:pt x="143066" y="235172"/>
                  </a:lnTo>
                  <a:lnTo>
                    <a:pt x="137160" y="229267"/>
                  </a:lnTo>
                  <a:lnTo>
                    <a:pt x="92393" y="274034"/>
                  </a:lnTo>
                  <a:lnTo>
                    <a:pt x="74771" y="307181"/>
                  </a:lnTo>
                  <a:lnTo>
                    <a:pt x="24289" y="342043"/>
                  </a:lnTo>
                  <a:lnTo>
                    <a:pt x="0" y="317754"/>
                  </a:lnTo>
                  <a:lnTo>
                    <a:pt x="34862" y="267272"/>
                  </a:lnTo>
                  <a:lnTo>
                    <a:pt x="68009" y="249746"/>
                  </a:lnTo>
                  <a:close/>
                </a:path>
              </a:pathLst>
            </a:custGeom>
            <a:noFill/>
            <a:ln w="12700" cap="rnd">
              <a:solidFill>
                <a:schemeClr val="bg1"/>
              </a:solidFill>
              <a:prstDash val="solid"/>
              <a:round/>
            </a:ln>
          </p:spPr>
          <p:txBody>
            <a:bodyPr rtlCol="0" anchor="ctr"/>
            <a:lstStyle/>
            <a:p>
              <a:endParaRPr lang="en-GB" sz="1600" dirty="0"/>
            </a:p>
          </p:txBody>
        </p:sp>
        <p:sp>
          <p:nvSpPr>
            <p:cNvPr id="223" name="Freeform: Shape 158">
              <a:extLst>
                <a:ext uri="{FF2B5EF4-FFF2-40B4-BE49-F238E27FC236}">
                  <a16:creationId xmlns:a16="http://schemas.microsoft.com/office/drawing/2014/main" id="{52EE9CB2-D32F-8A03-3687-6D3AD5F7EDB4}"/>
                </a:ext>
              </a:extLst>
            </p:cNvPr>
            <p:cNvSpPr/>
            <p:nvPr/>
          </p:nvSpPr>
          <p:spPr>
            <a:xfrm>
              <a:off x="6397959" y="1507630"/>
              <a:ext cx="235070" cy="235070"/>
            </a:xfrm>
            <a:custGeom>
              <a:avLst/>
              <a:gdLst>
                <a:gd name="connsiteX0" fmla="*/ 36290 w 171450"/>
                <a:gd name="connsiteY0" fmla="*/ 0 h 171450"/>
                <a:gd name="connsiteX1" fmla="*/ 177832 w 171450"/>
                <a:gd name="connsiteY1" fmla="*/ 141542 h 171450"/>
                <a:gd name="connsiteX2" fmla="*/ 141541 w 171450"/>
                <a:gd name="connsiteY2" fmla="*/ 177832 h 171450"/>
                <a:gd name="connsiteX3" fmla="*/ 0 w 171450"/>
                <a:gd name="connsiteY3" fmla="*/ 36290 h 171450"/>
              </a:gdLst>
              <a:ahLst/>
              <a:cxnLst>
                <a:cxn ang="0">
                  <a:pos x="connsiteX0" y="connsiteY0"/>
                </a:cxn>
                <a:cxn ang="0">
                  <a:pos x="connsiteX1" y="connsiteY1"/>
                </a:cxn>
                <a:cxn ang="0">
                  <a:pos x="connsiteX2" y="connsiteY2"/>
                </a:cxn>
                <a:cxn ang="0">
                  <a:pos x="connsiteX3" y="connsiteY3"/>
                </a:cxn>
              </a:cxnLst>
              <a:rect l="l" t="t" r="r" b="b"/>
              <a:pathLst>
                <a:path w="171450" h="171450">
                  <a:moveTo>
                    <a:pt x="36290" y="0"/>
                  </a:moveTo>
                  <a:lnTo>
                    <a:pt x="177832" y="141542"/>
                  </a:lnTo>
                  <a:lnTo>
                    <a:pt x="141541" y="177832"/>
                  </a:lnTo>
                  <a:lnTo>
                    <a:pt x="0" y="36290"/>
                  </a:lnTo>
                </a:path>
              </a:pathLst>
            </a:custGeom>
            <a:noFill/>
            <a:ln w="12700" cap="rnd">
              <a:solidFill>
                <a:schemeClr val="bg1"/>
              </a:solidFill>
              <a:prstDash val="solid"/>
              <a:round/>
            </a:ln>
          </p:spPr>
          <p:txBody>
            <a:bodyPr rtlCol="0" anchor="ctr"/>
            <a:lstStyle/>
            <a:p>
              <a:endParaRPr lang="en-GB" sz="1600" dirty="0"/>
            </a:p>
          </p:txBody>
        </p:sp>
        <p:sp>
          <p:nvSpPr>
            <p:cNvPr id="224" name="Freeform: Shape 160">
              <a:extLst>
                <a:ext uri="{FF2B5EF4-FFF2-40B4-BE49-F238E27FC236}">
                  <a16:creationId xmlns:a16="http://schemas.microsoft.com/office/drawing/2014/main" id="{E082B66F-8186-841E-F483-E0C7DCB451A1}"/>
                </a:ext>
              </a:extLst>
            </p:cNvPr>
            <p:cNvSpPr/>
            <p:nvPr/>
          </p:nvSpPr>
          <p:spPr>
            <a:xfrm>
              <a:off x="6151532" y="1261203"/>
              <a:ext cx="235070" cy="235070"/>
            </a:xfrm>
            <a:custGeom>
              <a:avLst/>
              <a:gdLst>
                <a:gd name="connsiteX0" fmla="*/ 141634 w 171450"/>
                <a:gd name="connsiteY0" fmla="*/ 177924 h 171450"/>
                <a:gd name="connsiteX1" fmla="*/ 112297 w 171450"/>
                <a:gd name="connsiteY1" fmla="*/ 148587 h 171450"/>
                <a:gd name="connsiteX2" fmla="*/ 22857 w 171450"/>
                <a:gd name="connsiteY2" fmla="*/ 133538 h 171450"/>
                <a:gd name="connsiteX3" fmla="*/ 5236 w 171450"/>
                <a:gd name="connsiteY3" fmla="*/ 50099 h 171450"/>
                <a:gd name="connsiteX4" fmla="*/ 49908 w 171450"/>
                <a:gd name="connsiteY4" fmla="*/ 94771 h 171450"/>
                <a:gd name="connsiteX5" fmla="*/ 88484 w 171450"/>
                <a:gd name="connsiteY5" fmla="*/ 94676 h 171450"/>
                <a:gd name="connsiteX6" fmla="*/ 94676 w 171450"/>
                <a:gd name="connsiteY6" fmla="*/ 88484 h 171450"/>
                <a:gd name="connsiteX7" fmla="*/ 94771 w 171450"/>
                <a:gd name="connsiteY7" fmla="*/ 49908 h 171450"/>
                <a:gd name="connsiteX8" fmla="*/ 50099 w 171450"/>
                <a:gd name="connsiteY8" fmla="*/ 5236 h 171450"/>
                <a:gd name="connsiteX9" fmla="*/ 133538 w 171450"/>
                <a:gd name="connsiteY9" fmla="*/ 22857 h 171450"/>
                <a:gd name="connsiteX10" fmla="*/ 148587 w 171450"/>
                <a:gd name="connsiteY10" fmla="*/ 112297 h 171450"/>
                <a:gd name="connsiteX11" fmla="*/ 178686 w 171450"/>
                <a:gd name="connsiteY11" fmla="*/ 14239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450" h="171450">
                  <a:moveTo>
                    <a:pt x="141634" y="177924"/>
                  </a:moveTo>
                  <a:lnTo>
                    <a:pt x="112297" y="148587"/>
                  </a:lnTo>
                  <a:cubicBezTo>
                    <a:pt x="83150" y="162779"/>
                    <a:pt x="47051" y="157636"/>
                    <a:pt x="22857" y="133538"/>
                  </a:cubicBezTo>
                  <a:cubicBezTo>
                    <a:pt x="283" y="110963"/>
                    <a:pt x="-5527" y="78007"/>
                    <a:pt x="5236" y="50099"/>
                  </a:cubicBezTo>
                  <a:lnTo>
                    <a:pt x="49908" y="94771"/>
                  </a:lnTo>
                  <a:cubicBezTo>
                    <a:pt x="60481" y="105344"/>
                    <a:pt x="77912" y="105248"/>
                    <a:pt x="88484" y="94676"/>
                  </a:cubicBezTo>
                  <a:lnTo>
                    <a:pt x="94676" y="88484"/>
                  </a:lnTo>
                  <a:cubicBezTo>
                    <a:pt x="105248" y="77912"/>
                    <a:pt x="105344" y="60481"/>
                    <a:pt x="94771" y="49908"/>
                  </a:cubicBezTo>
                  <a:lnTo>
                    <a:pt x="50099" y="5236"/>
                  </a:lnTo>
                  <a:cubicBezTo>
                    <a:pt x="78102" y="-5527"/>
                    <a:pt x="110963" y="283"/>
                    <a:pt x="133538" y="22857"/>
                  </a:cubicBezTo>
                  <a:cubicBezTo>
                    <a:pt x="157636" y="46955"/>
                    <a:pt x="162780" y="83150"/>
                    <a:pt x="148587" y="112297"/>
                  </a:cubicBezTo>
                  <a:lnTo>
                    <a:pt x="178686" y="142396"/>
                  </a:lnTo>
                </a:path>
              </a:pathLst>
            </a:custGeom>
            <a:noFill/>
            <a:ln w="12700" cap="rnd">
              <a:solidFill>
                <a:schemeClr val="bg1"/>
              </a:solidFill>
              <a:prstDash val="solid"/>
              <a:round/>
            </a:ln>
          </p:spPr>
          <p:txBody>
            <a:bodyPr rtlCol="0" anchor="ctr"/>
            <a:lstStyle/>
            <a:p>
              <a:endParaRPr lang="en-GB" sz="1600" dirty="0"/>
            </a:p>
          </p:txBody>
        </p:sp>
      </p:grpSp>
      <p:grpSp>
        <p:nvGrpSpPr>
          <p:cNvPr id="225" name="Group 224">
            <a:extLst>
              <a:ext uri="{FF2B5EF4-FFF2-40B4-BE49-F238E27FC236}">
                <a16:creationId xmlns:a16="http://schemas.microsoft.com/office/drawing/2014/main" id="{485B6DE6-67C2-9971-2D31-95C8D52FA003}"/>
              </a:ext>
              <a:ext uri="{C183D7F6-B498-43B3-948B-1728B52AA6E4}">
                <adec:decorative xmlns:adec="http://schemas.microsoft.com/office/drawing/2017/decorative" val="1"/>
              </a:ext>
            </a:extLst>
          </p:cNvPr>
          <p:cNvGrpSpPr/>
          <p:nvPr userDrawn="1"/>
        </p:nvGrpSpPr>
        <p:grpSpPr>
          <a:xfrm>
            <a:off x="4235165" y="3450598"/>
            <a:ext cx="432810" cy="421372"/>
            <a:chOff x="2827687" y="2375038"/>
            <a:chExt cx="496315" cy="483199"/>
          </a:xfrm>
        </p:grpSpPr>
        <p:sp>
          <p:nvSpPr>
            <p:cNvPr id="226" name="Freeform: Shape 139">
              <a:extLst>
                <a:ext uri="{FF2B5EF4-FFF2-40B4-BE49-F238E27FC236}">
                  <a16:creationId xmlns:a16="http://schemas.microsoft.com/office/drawing/2014/main" id="{7BFF8FEA-A81F-947D-1DEC-EEC29FE49FE6}"/>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chemeClr val="bg1"/>
              </a:solidFill>
              <a:prstDash val="solid"/>
              <a:miter/>
            </a:ln>
          </p:spPr>
          <p:txBody>
            <a:bodyPr rtlCol="0" anchor="ctr"/>
            <a:lstStyle/>
            <a:p>
              <a:endParaRPr lang="en-GB" sz="1600" dirty="0"/>
            </a:p>
          </p:txBody>
        </p:sp>
        <p:sp>
          <p:nvSpPr>
            <p:cNvPr id="227" name="Freeform: Shape 140">
              <a:extLst>
                <a:ext uri="{FF2B5EF4-FFF2-40B4-BE49-F238E27FC236}">
                  <a16:creationId xmlns:a16="http://schemas.microsoft.com/office/drawing/2014/main" id="{17020E61-DC83-9BEB-84B2-9154A01F88BD}"/>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chemeClr val="bg1"/>
              </a:solidFill>
              <a:prstDash val="solid"/>
              <a:miter/>
            </a:ln>
          </p:spPr>
          <p:txBody>
            <a:bodyPr rtlCol="0" anchor="ctr"/>
            <a:lstStyle/>
            <a:p>
              <a:endParaRPr lang="en-GB" sz="1600" dirty="0"/>
            </a:p>
          </p:txBody>
        </p:sp>
        <p:sp>
          <p:nvSpPr>
            <p:cNvPr id="228" name="Freeform: Shape 141">
              <a:extLst>
                <a:ext uri="{FF2B5EF4-FFF2-40B4-BE49-F238E27FC236}">
                  <a16:creationId xmlns:a16="http://schemas.microsoft.com/office/drawing/2014/main" id="{85893C0B-92AB-DAAA-27FA-E31B4BF6163A}"/>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chemeClr val="bg1"/>
              </a:solidFill>
              <a:prstDash val="solid"/>
              <a:miter/>
            </a:ln>
          </p:spPr>
          <p:txBody>
            <a:bodyPr rtlCol="0" anchor="ctr"/>
            <a:lstStyle/>
            <a:p>
              <a:endParaRPr lang="en-GB" sz="1600" dirty="0"/>
            </a:p>
          </p:txBody>
        </p:sp>
        <p:sp>
          <p:nvSpPr>
            <p:cNvPr id="229" name="Freeform: Shape 142">
              <a:extLst>
                <a:ext uri="{FF2B5EF4-FFF2-40B4-BE49-F238E27FC236}">
                  <a16:creationId xmlns:a16="http://schemas.microsoft.com/office/drawing/2014/main" id="{0606ED6A-9CCF-052B-7968-CC76B30EBE9F}"/>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230" name="Freeform: Shape 143">
              <a:extLst>
                <a:ext uri="{FF2B5EF4-FFF2-40B4-BE49-F238E27FC236}">
                  <a16:creationId xmlns:a16="http://schemas.microsoft.com/office/drawing/2014/main" id="{4ED31D7A-AB53-4D4E-FF19-958390D0F71F}"/>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231" name="Freeform: Shape 144">
              <a:extLst>
                <a:ext uri="{FF2B5EF4-FFF2-40B4-BE49-F238E27FC236}">
                  <a16:creationId xmlns:a16="http://schemas.microsoft.com/office/drawing/2014/main" id="{FE4BA34F-2035-B51D-6B85-64D1061AE3B3}"/>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sp>
          <p:nvSpPr>
            <p:cNvPr id="232" name="Freeform: Shape 145">
              <a:extLst>
                <a:ext uri="{FF2B5EF4-FFF2-40B4-BE49-F238E27FC236}">
                  <a16:creationId xmlns:a16="http://schemas.microsoft.com/office/drawing/2014/main" id="{0F1158F5-B0E1-9028-E095-2872951290C6}"/>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dirty="0"/>
            </a:p>
          </p:txBody>
        </p:sp>
      </p:grpSp>
      <p:grpSp>
        <p:nvGrpSpPr>
          <p:cNvPr id="233" name="Group 232">
            <a:extLst>
              <a:ext uri="{FF2B5EF4-FFF2-40B4-BE49-F238E27FC236}">
                <a16:creationId xmlns:a16="http://schemas.microsoft.com/office/drawing/2014/main" id="{554672E4-62FC-CB80-9018-64944B76C42F}"/>
              </a:ext>
              <a:ext uri="{C183D7F6-B498-43B3-948B-1728B52AA6E4}">
                <adec:decorative xmlns:adec="http://schemas.microsoft.com/office/drawing/2017/decorative" val="1"/>
              </a:ext>
            </a:extLst>
          </p:cNvPr>
          <p:cNvGrpSpPr/>
          <p:nvPr userDrawn="1"/>
        </p:nvGrpSpPr>
        <p:grpSpPr>
          <a:xfrm>
            <a:off x="8766081" y="3469196"/>
            <a:ext cx="325438" cy="384175"/>
            <a:chOff x="9007476" y="2855913"/>
            <a:chExt cx="325438" cy="384175"/>
          </a:xfrm>
        </p:grpSpPr>
        <p:sp>
          <p:nvSpPr>
            <p:cNvPr id="234" name="Freeform 12">
              <a:extLst>
                <a:ext uri="{FF2B5EF4-FFF2-40B4-BE49-F238E27FC236}">
                  <a16:creationId xmlns:a16="http://schemas.microsoft.com/office/drawing/2014/main" id="{9546A247-DA2A-BC9C-6579-CEB4F5F33E43}"/>
                </a:ext>
              </a:extLst>
            </p:cNvPr>
            <p:cNvSpPr>
              <a:spLocks/>
            </p:cNvSpPr>
            <p:nvPr userDrawn="1"/>
          </p:nvSpPr>
          <p:spPr bwMode="auto">
            <a:xfrm>
              <a:off x="9007476" y="2855913"/>
              <a:ext cx="325438" cy="153988"/>
            </a:xfrm>
            <a:custGeom>
              <a:avLst/>
              <a:gdLst>
                <a:gd name="T0" fmla="*/ 378 w 378"/>
                <a:gd name="T1" fmla="*/ 91 h 182"/>
                <a:gd name="T2" fmla="*/ 378 w 378"/>
                <a:gd name="T3" fmla="*/ 91 h 182"/>
                <a:gd name="T4" fmla="*/ 189 w 378"/>
                <a:gd name="T5" fmla="*/ 0 h 182"/>
                <a:gd name="T6" fmla="*/ 0 w 378"/>
                <a:gd name="T7" fmla="*/ 91 h 182"/>
                <a:gd name="T8" fmla="*/ 189 w 378"/>
                <a:gd name="T9" fmla="*/ 182 h 182"/>
                <a:gd name="T10" fmla="*/ 378 w 378"/>
                <a:gd name="T11" fmla="*/ 91 h 182"/>
                <a:gd name="T12" fmla="*/ 378 w 378"/>
                <a:gd name="T13" fmla="*/ 91 h 182"/>
              </a:gdLst>
              <a:ahLst/>
              <a:cxnLst>
                <a:cxn ang="0">
                  <a:pos x="T0" y="T1"/>
                </a:cxn>
                <a:cxn ang="0">
                  <a:pos x="T2" y="T3"/>
                </a:cxn>
                <a:cxn ang="0">
                  <a:pos x="T4" y="T5"/>
                </a:cxn>
                <a:cxn ang="0">
                  <a:pos x="T6" y="T7"/>
                </a:cxn>
                <a:cxn ang="0">
                  <a:pos x="T8" y="T9"/>
                </a:cxn>
                <a:cxn ang="0">
                  <a:pos x="T10" y="T11"/>
                </a:cxn>
                <a:cxn ang="0">
                  <a:pos x="T12" y="T13"/>
                </a:cxn>
              </a:cxnLst>
              <a:rect l="0" t="0" r="r" b="b"/>
              <a:pathLst>
                <a:path w="378" h="182">
                  <a:moveTo>
                    <a:pt x="378" y="91"/>
                  </a:moveTo>
                  <a:lnTo>
                    <a:pt x="378" y="91"/>
                  </a:lnTo>
                  <a:cubicBezTo>
                    <a:pt x="378" y="40"/>
                    <a:pt x="294" y="0"/>
                    <a:pt x="189" y="0"/>
                  </a:cubicBezTo>
                  <a:cubicBezTo>
                    <a:pt x="85" y="0"/>
                    <a:pt x="0" y="40"/>
                    <a:pt x="0" y="91"/>
                  </a:cubicBezTo>
                  <a:cubicBezTo>
                    <a:pt x="0" y="141"/>
                    <a:pt x="85" y="182"/>
                    <a:pt x="189" y="182"/>
                  </a:cubicBezTo>
                  <a:cubicBezTo>
                    <a:pt x="294" y="182"/>
                    <a:pt x="378" y="141"/>
                    <a:pt x="378" y="91"/>
                  </a:cubicBezTo>
                  <a:lnTo>
                    <a:pt x="378" y="9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13">
              <a:extLst>
                <a:ext uri="{FF2B5EF4-FFF2-40B4-BE49-F238E27FC236}">
                  <a16:creationId xmlns:a16="http://schemas.microsoft.com/office/drawing/2014/main" id="{6662F282-463E-EAB0-E649-6C92B3A475DA}"/>
                </a:ext>
              </a:extLst>
            </p:cNvPr>
            <p:cNvSpPr>
              <a:spLocks/>
            </p:cNvSpPr>
            <p:nvPr userDrawn="1"/>
          </p:nvSpPr>
          <p:spPr bwMode="auto">
            <a:xfrm>
              <a:off x="9007476" y="3009900"/>
              <a:ext cx="325438" cy="76200"/>
            </a:xfrm>
            <a:custGeom>
              <a:avLst/>
              <a:gdLst>
                <a:gd name="T0" fmla="*/ 0 w 378"/>
                <a:gd name="T1" fmla="*/ 0 h 92"/>
                <a:gd name="T2" fmla="*/ 0 w 378"/>
                <a:gd name="T3" fmla="*/ 0 h 92"/>
                <a:gd name="T4" fmla="*/ 189 w 378"/>
                <a:gd name="T5" fmla="*/ 92 h 92"/>
                <a:gd name="T6" fmla="*/ 378 w 378"/>
                <a:gd name="T7" fmla="*/ 0 h 92"/>
              </a:gdLst>
              <a:ahLst/>
              <a:cxnLst>
                <a:cxn ang="0">
                  <a:pos x="T0" y="T1"/>
                </a:cxn>
                <a:cxn ang="0">
                  <a:pos x="T2" y="T3"/>
                </a:cxn>
                <a:cxn ang="0">
                  <a:pos x="T4" y="T5"/>
                </a:cxn>
                <a:cxn ang="0">
                  <a:pos x="T6" y="T7"/>
                </a:cxn>
              </a:cxnLst>
              <a:rect l="0" t="0" r="r" b="b"/>
              <a:pathLst>
                <a:path w="378" h="92">
                  <a:moveTo>
                    <a:pt x="0" y="0"/>
                  </a:moveTo>
                  <a:lnTo>
                    <a:pt x="0" y="0"/>
                  </a:lnTo>
                  <a:cubicBezTo>
                    <a:pt x="0" y="51"/>
                    <a:pt x="85" y="92"/>
                    <a:pt x="189" y="92"/>
                  </a:cubicBezTo>
                  <a:cubicBezTo>
                    <a:pt x="294" y="92"/>
                    <a:pt x="378" y="51"/>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14">
              <a:extLst>
                <a:ext uri="{FF2B5EF4-FFF2-40B4-BE49-F238E27FC236}">
                  <a16:creationId xmlns:a16="http://schemas.microsoft.com/office/drawing/2014/main" id="{30E0CFFA-348F-454F-E79D-DB7E5CD2E873}"/>
                </a:ext>
              </a:extLst>
            </p:cNvPr>
            <p:cNvSpPr>
              <a:spLocks/>
            </p:cNvSpPr>
            <p:nvPr userDrawn="1"/>
          </p:nvSpPr>
          <p:spPr bwMode="auto">
            <a:xfrm>
              <a:off x="9007476" y="3086100"/>
              <a:ext cx="325438" cy="77788"/>
            </a:xfrm>
            <a:custGeom>
              <a:avLst/>
              <a:gdLst>
                <a:gd name="T0" fmla="*/ 0 w 378"/>
                <a:gd name="T1" fmla="*/ 0 h 91"/>
                <a:gd name="T2" fmla="*/ 0 w 378"/>
                <a:gd name="T3" fmla="*/ 0 h 91"/>
                <a:gd name="T4" fmla="*/ 189 w 378"/>
                <a:gd name="T5" fmla="*/ 91 h 91"/>
                <a:gd name="T6" fmla="*/ 378 w 378"/>
                <a:gd name="T7" fmla="*/ 0 h 91"/>
              </a:gdLst>
              <a:ahLst/>
              <a:cxnLst>
                <a:cxn ang="0">
                  <a:pos x="T0" y="T1"/>
                </a:cxn>
                <a:cxn ang="0">
                  <a:pos x="T2" y="T3"/>
                </a:cxn>
                <a:cxn ang="0">
                  <a:pos x="T4" y="T5"/>
                </a:cxn>
                <a:cxn ang="0">
                  <a:pos x="T6" y="T7"/>
                </a:cxn>
              </a:cxnLst>
              <a:rect l="0" t="0" r="r" b="b"/>
              <a:pathLst>
                <a:path w="378" h="91">
                  <a:moveTo>
                    <a:pt x="0" y="0"/>
                  </a:moveTo>
                  <a:lnTo>
                    <a:pt x="0" y="0"/>
                  </a:lnTo>
                  <a:cubicBezTo>
                    <a:pt x="0" y="50"/>
                    <a:pt x="85" y="91"/>
                    <a:pt x="189" y="91"/>
                  </a:cubicBezTo>
                  <a:cubicBezTo>
                    <a:pt x="294" y="91"/>
                    <a:pt x="378" y="50"/>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15">
              <a:extLst>
                <a:ext uri="{FF2B5EF4-FFF2-40B4-BE49-F238E27FC236}">
                  <a16:creationId xmlns:a16="http://schemas.microsoft.com/office/drawing/2014/main" id="{BA0CD7EF-D6FD-01A5-9474-7558E3E62DCA}"/>
                </a:ext>
              </a:extLst>
            </p:cNvPr>
            <p:cNvSpPr>
              <a:spLocks/>
            </p:cNvSpPr>
            <p:nvPr userDrawn="1"/>
          </p:nvSpPr>
          <p:spPr bwMode="auto">
            <a:xfrm>
              <a:off x="9007476" y="2932113"/>
              <a:ext cx="325438" cy="307975"/>
            </a:xfrm>
            <a:custGeom>
              <a:avLst/>
              <a:gdLst>
                <a:gd name="T0" fmla="*/ 378 w 378"/>
                <a:gd name="T1" fmla="*/ 0 h 366"/>
                <a:gd name="T2" fmla="*/ 378 w 378"/>
                <a:gd name="T3" fmla="*/ 0 h 366"/>
                <a:gd name="T4" fmla="*/ 378 w 378"/>
                <a:gd name="T5" fmla="*/ 274 h 366"/>
                <a:gd name="T6" fmla="*/ 189 w 378"/>
                <a:gd name="T7" fmla="*/ 366 h 366"/>
                <a:gd name="T8" fmla="*/ 0 w 378"/>
                <a:gd name="T9" fmla="*/ 274 h 366"/>
                <a:gd name="T10" fmla="*/ 0 w 378"/>
                <a:gd name="T11" fmla="*/ 0 h 366"/>
              </a:gdLst>
              <a:ahLst/>
              <a:cxnLst>
                <a:cxn ang="0">
                  <a:pos x="T0" y="T1"/>
                </a:cxn>
                <a:cxn ang="0">
                  <a:pos x="T2" y="T3"/>
                </a:cxn>
                <a:cxn ang="0">
                  <a:pos x="T4" y="T5"/>
                </a:cxn>
                <a:cxn ang="0">
                  <a:pos x="T6" y="T7"/>
                </a:cxn>
                <a:cxn ang="0">
                  <a:pos x="T8" y="T9"/>
                </a:cxn>
                <a:cxn ang="0">
                  <a:pos x="T10" y="T11"/>
                </a:cxn>
              </a:cxnLst>
              <a:rect l="0" t="0" r="r" b="b"/>
              <a:pathLst>
                <a:path w="378" h="366">
                  <a:moveTo>
                    <a:pt x="378" y="0"/>
                  </a:moveTo>
                  <a:lnTo>
                    <a:pt x="378" y="0"/>
                  </a:lnTo>
                  <a:lnTo>
                    <a:pt x="378" y="274"/>
                  </a:lnTo>
                  <a:cubicBezTo>
                    <a:pt x="378" y="325"/>
                    <a:pt x="294" y="366"/>
                    <a:pt x="189" y="366"/>
                  </a:cubicBezTo>
                  <a:cubicBezTo>
                    <a:pt x="85" y="366"/>
                    <a:pt x="0" y="325"/>
                    <a:pt x="0" y="274"/>
                  </a:cubicBez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Footer Placeholder 3">
            <a:extLst>
              <a:ext uri="{FF2B5EF4-FFF2-40B4-BE49-F238E27FC236}">
                <a16:creationId xmlns:a16="http://schemas.microsoft.com/office/drawing/2014/main" id="{E99C7981-0EEE-4F6D-A405-BF1594469F15}"/>
              </a:ext>
              <a:ext uri="{C183D7F6-B498-43B3-948B-1728B52AA6E4}">
                <adec:decorative xmlns:adec="http://schemas.microsoft.com/office/drawing/2017/decorative" val="0"/>
              </a:ext>
            </a:extLst>
          </p:cNvPr>
          <p:cNvSpPr>
            <a:spLocks noGrp="1"/>
          </p:cNvSpPr>
          <p:nvPr userDrawn="1">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6227229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1_Our Industry Domain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172B90-F3DC-43C0-89F3-8DE17A9513CD}"/>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6" name="TextBox 5">
            <a:extLst>
              <a:ext uri="{FF2B5EF4-FFF2-40B4-BE49-F238E27FC236}">
                <a16:creationId xmlns:a16="http://schemas.microsoft.com/office/drawing/2014/main" id="{1F8338AC-4500-47E3-BBAF-D63CA2D1C27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8C4EFE66-7746-438A-BDD7-D4C86ECB6589}"/>
              </a:ext>
              <a:ext uri="{C183D7F6-B498-43B3-948B-1728B52AA6E4}">
                <adec:decorative xmlns:adec="http://schemas.microsoft.com/office/drawing/2017/decorative" val="1"/>
              </a:ext>
            </a:extLst>
          </p:cNvPr>
          <p:cNvSpPr/>
          <p:nvPr userDrawn="1"/>
        </p:nvSpPr>
        <p:spPr>
          <a:xfrm>
            <a:off x="559048"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EBC5CC8-7786-408D-93AD-5F468B3DEAF7}"/>
              </a:ext>
              <a:ext uri="{C183D7F6-B498-43B3-948B-1728B52AA6E4}">
                <adec:decorative xmlns:adec="http://schemas.microsoft.com/office/drawing/2017/decorative" val="1"/>
              </a:ext>
            </a:extLst>
          </p:cNvPr>
          <p:cNvSpPr/>
          <p:nvPr userDrawn="1"/>
        </p:nvSpPr>
        <p:spPr>
          <a:xfrm>
            <a:off x="2803767" y="2666040"/>
            <a:ext cx="2109124" cy="3107671"/>
          </a:xfrm>
          <a:prstGeom prst="rect">
            <a:avLst/>
          </a:prstGeom>
          <a:solidFill>
            <a:schemeClr val="tx2">
              <a:lumMod val="20000"/>
              <a:lumOff val="8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8032315-9617-47FB-AD91-88C8100047DF}"/>
              </a:ext>
              <a:ext uri="{C183D7F6-B498-43B3-948B-1728B52AA6E4}">
                <adec:decorative xmlns:adec="http://schemas.microsoft.com/office/drawing/2017/decorative" val="1"/>
              </a:ext>
            </a:extLst>
          </p:cNvPr>
          <p:cNvSpPr/>
          <p:nvPr userDrawn="1"/>
        </p:nvSpPr>
        <p:spPr>
          <a:xfrm>
            <a:off x="5048486"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D14EF52-ED62-4610-953D-3E9A49310ED6}"/>
              </a:ext>
              <a:ext uri="{C183D7F6-B498-43B3-948B-1728B52AA6E4}">
                <adec:decorative xmlns:adec="http://schemas.microsoft.com/office/drawing/2017/decorative" val="1"/>
              </a:ext>
            </a:extLst>
          </p:cNvPr>
          <p:cNvSpPr/>
          <p:nvPr userDrawn="1"/>
        </p:nvSpPr>
        <p:spPr>
          <a:xfrm>
            <a:off x="7293205" y="2666040"/>
            <a:ext cx="2109124" cy="3107671"/>
          </a:xfrm>
          <a:prstGeom prst="rect">
            <a:avLst/>
          </a:prstGeom>
          <a:solidFill>
            <a:schemeClr val="tx2">
              <a:lumMod val="20000"/>
              <a:lumOff val="8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437078C-8DA1-4066-8E13-8329AA296C1B}"/>
              </a:ext>
              <a:ext uri="{C183D7F6-B498-43B3-948B-1728B52AA6E4}">
                <adec:decorative xmlns:adec="http://schemas.microsoft.com/office/drawing/2017/decorative" val="1"/>
              </a:ext>
            </a:extLst>
          </p:cNvPr>
          <p:cNvSpPr/>
          <p:nvPr userDrawn="1"/>
        </p:nvSpPr>
        <p:spPr>
          <a:xfrm>
            <a:off x="9537925"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FFFFF"/>
              </a:solidFill>
              <a:effectLst/>
              <a:uLnTx/>
              <a:uFillTx/>
              <a:latin typeface="Calibri" panose="020F0502020204030204"/>
            </a:endParaRPr>
          </a:p>
        </p:txBody>
      </p:sp>
      <p:cxnSp>
        <p:nvCxnSpPr>
          <p:cNvPr id="15" name="Straight Connector 14">
            <a:extLst>
              <a:ext uri="{FF2B5EF4-FFF2-40B4-BE49-F238E27FC236}">
                <a16:creationId xmlns:a16="http://schemas.microsoft.com/office/drawing/2014/main" id="{ED352967-2C31-43D7-902C-CC6EB04D630B}"/>
              </a:ext>
              <a:ext uri="{C183D7F6-B498-43B3-948B-1728B52AA6E4}">
                <adec:decorative xmlns:adec="http://schemas.microsoft.com/office/drawing/2017/decorative" val="1"/>
              </a:ext>
            </a:extLst>
          </p:cNvPr>
          <p:cNvCxnSpPr>
            <a:cxnSpLocks/>
          </p:cNvCxnSpPr>
          <p:nvPr userDrawn="1"/>
        </p:nvCxnSpPr>
        <p:spPr>
          <a:xfrm>
            <a:off x="559048"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B19A45-1B74-4568-B4D9-AFFE0B99B2ED}"/>
              </a:ext>
              <a:ext uri="{C183D7F6-B498-43B3-948B-1728B52AA6E4}">
                <adec:decorative xmlns:adec="http://schemas.microsoft.com/office/drawing/2017/decorative" val="1"/>
              </a:ext>
            </a:extLst>
          </p:cNvPr>
          <p:cNvCxnSpPr>
            <a:cxnSpLocks/>
          </p:cNvCxnSpPr>
          <p:nvPr userDrawn="1"/>
        </p:nvCxnSpPr>
        <p:spPr>
          <a:xfrm>
            <a:off x="2803767"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DAC0FF-421A-4F45-8A74-C5F6EFC5C34E}"/>
              </a:ext>
              <a:ext uri="{C183D7F6-B498-43B3-948B-1728B52AA6E4}">
                <adec:decorative xmlns:adec="http://schemas.microsoft.com/office/drawing/2017/decorative" val="1"/>
              </a:ext>
            </a:extLst>
          </p:cNvPr>
          <p:cNvCxnSpPr>
            <a:cxnSpLocks/>
          </p:cNvCxnSpPr>
          <p:nvPr userDrawn="1"/>
        </p:nvCxnSpPr>
        <p:spPr>
          <a:xfrm>
            <a:off x="5048486"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E9F117-E8FC-4305-98ED-CB78D87915F2}"/>
              </a:ext>
              <a:ext uri="{C183D7F6-B498-43B3-948B-1728B52AA6E4}">
                <adec:decorative xmlns:adec="http://schemas.microsoft.com/office/drawing/2017/decorative" val="1"/>
              </a:ext>
            </a:extLst>
          </p:cNvPr>
          <p:cNvCxnSpPr>
            <a:cxnSpLocks/>
          </p:cNvCxnSpPr>
          <p:nvPr userDrawn="1"/>
        </p:nvCxnSpPr>
        <p:spPr>
          <a:xfrm>
            <a:off x="729320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C0CCFD-24F3-408E-AB82-1758702D40EC}"/>
              </a:ext>
              <a:ext uri="{C183D7F6-B498-43B3-948B-1728B52AA6E4}">
                <adec:decorative xmlns:adec="http://schemas.microsoft.com/office/drawing/2017/decorative" val="1"/>
              </a:ext>
            </a:extLst>
          </p:cNvPr>
          <p:cNvCxnSpPr>
            <a:cxnSpLocks/>
          </p:cNvCxnSpPr>
          <p:nvPr userDrawn="1"/>
        </p:nvCxnSpPr>
        <p:spPr>
          <a:xfrm>
            <a:off x="953792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effectLst/>
                <a:uLnTx/>
                <a:uFillTx/>
                <a:latin typeface="Century Gothic" panose="020B0502020202020204" pitchFamily="34" charset="0"/>
                <a:ea typeface="+mj-ea"/>
                <a:cs typeface="+mj-cs"/>
              </a:rPr>
              <a:t>Our Industry Domains</a:t>
            </a:r>
          </a:p>
        </p:txBody>
      </p:sp>
      <p:sp>
        <p:nvSpPr>
          <p:cNvPr id="42" name="Rectangle 41">
            <a:extLst>
              <a:ext uri="{FF2B5EF4-FFF2-40B4-BE49-F238E27FC236}">
                <a16:creationId xmlns:a16="http://schemas.microsoft.com/office/drawing/2014/main" id="{D77F5919-F1F1-4E82-A66B-01C86AC9A48C}"/>
              </a:ext>
            </a:extLst>
          </p:cNvPr>
          <p:cNvSpPr/>
          <p:nvPr userDrawn="1"/>
        </p:nvSpPr>
        <p:spPr>
          <a:xfrm>
            <a:off x="1211521" y="2068246"/>
            <a:ext cx="116591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Ban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amp; Payments</a:t>
            </a:r>
          </a:p>
        </p:txBody>
      </p:sp>
      <p:sp>
        <p:nvSpPr>
          <p:cNvPr id="32" name="Rectangle 31">
            <a:extLst>
              <a:ext uri="{FF2B5EF4-FFF2-40B4-BE49-F238E27FC236}">
                <a16:creationId xmlns:a16="http://schemas.microsoft.com/office/drawing/2014/main" id="{E1738EF0-2619-417F-8B0D-D40AEFAA5A19}"/>
              </a:ext>
            </a:extLst>
          </p:cNvPr>
          <p:cNvSpPr/>
          <p:nvPr userDrawn="1"/>
        </p:nvSpPr>
        <p:spPr>
          <a:xfrm>
            <a:off x="605177" y="2688401"/>
            <a:ext cx="2016865" cy="1640449"/>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Innovation is fueling consumer expectations in banking and payments, requiring banks to implement huge changes to stay current. At Capco, we help our clients emerge as winners, achieving operational excellence whilst delivering transformed customer experiences.</a:t>
            </a:r>
          </a:p>
        </p:txBody>
      </p:sp>
      <p:sp>
        <p:nvSpPr>
          <p:cNvPr id="43" name="Rectangle 42">
            <a:extLst>
              <a:ext uri="{FF2B5EF4-FFF2-40B4-BE49-F238E27FC236}">
                <a16:creationId xmlns:a16="http://schemas.microsoft.com/office/drawing/2014/main" id="{02B92818-FBD7-427F-AFA8-8B33D4C3A7DC}"/>
              </a:ext>
            </a:extLst>
          </p:cNvPr>
          <p:cNvSpPr/>
          <p:nvPr userDrawn="1"/>
        </p:nvSpPr>
        <p:spPr>
          <a:xfrm>
            <a:off x="3465496" y="2168701"/>
            <a:ext cx="1401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Capital Markets</a:t>
            </a:r>
          </a:p>
        </p:txBody>
      </p:sp>
      <p:sp>
        <p:nvSpPr>
          <p:cNvPr id="33" name="Rectangle 32">
            <a:extLst>
              <a:ext uri="{FF2B5EF4-FFF2-40B4-BE49-F238E27FC236}">
                <a16:creationId xmlns:a16="http://schemas.microsoft.com/office/drawing/2014/main" id="{0850FDE8-2780-4C96-A7BC-E00685275EA8}"/>
              </a:ext>
            </a:extLst>
          </p:cNvPr>
          <p:cNvSpPr/>
          <p:nvPr userDrawn="1"/>
        </p:nvSpPr>
        <p:spPr>
          <a:xfrm>
            <a:off x="2849896" y="2688401"/>
            <a:ext cx="2016865" cy="146758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Capital markets is where Capco started – it is at the heart of what we do. We understand today’s challenging regulatory landscape, the demand to stay competitive and the ever-present need to cut costs. We help banking clients optimize performance. Expertly.</a:t>
            </a:r>
          </a:p>
        </p:txBody>
      </p:sp>
      <p:sp>
        <p:nvSpPr>
          <p:cNvPr id="44" name="Rectangle 43">
            <a:extLst>
              <a:ext uri="{FF2B5EF4-FFF2-40B4-BE49-F238E27FC236}">
                <a16:creationId xmlns:a16="http://schemas.microsoft.com/office/drawing/2014/main" id="{B08B9DAD-430F-4DA7-A115-86AB80B3F2F8}"/>
              </a:ext>
            </a:extLst>
          </p:cNvPr>
          <p:cNvSpPr/>
          <p:nvPr userDrawn="1"/>
        </p:nvSpPr>
        <p:spPr>
          <a:xfrm>
            <a:off x="5412870" y="2052000"/>
            <a:ext cx="134798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Wealth &amp; As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Management</a:t>
            </a:r>
          </a:p>
        </p:txBody>
      </p:sp>
      <p:sp>
        <p:nvSpPr>
          <p:cNvPr id="34" name="Rectangle 33">
            <a:extLst>
              <a:ext uri="{FF2B5EF4-FFF2-40B4-BE49-F238E27FC236}">
                <a16:creationId xmlns:a16="http://schemas.microsoft.com/office/drawing/2014/main" id="{BE56F7C0-C4EA-460B-AF73-FD6A9E5FF401}"/>
              </a:ext>
            </a:extLst>
          </p:cNvPr>
          <p:cNvSpPr/>
          <p:nvPr userDrawn="1"/>
        </p:nvSpPr>
        <p:spPr>
          <a:xfrm>
            <a:off x="509461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Wealth and Asset Management is entering a revolution – the advisory space is now a hybrid of human and robotic interactions working together to deliver enhanced client services. We focus on digital trust, API and transformation strategy because we recognize that costs are on the rise, and regulatory pressures are adding to complexity. Our clients want to optimize operations while realizing digital opportunities – Capco helps to achieve this. </a:t>
            </a:r>
          </a:p>
        </p:txBody>
      </p:sp>
      <p:sp>
        <p:nvSpPr>
          <p:cNvPr id="45" name="Rectangle 44">
            <a:extLst>
              <a:ext uri="{FF2B5EF4-FFF2-40B4-BE49-F238E27FC236}">
                <a16:creationId xmlns:a16="http://schemas.microsoft.com/office/drawing/2014/main" id="{24DF95AB-02AA-44FC-9992-5157C865A72B}"/>
              </a:ext>
            </a:extLst>
          </p:cNvPr>
          <p:cNvSpPr/>
          <p:nvPr userDrawn="1"/>
        </p:nvSpPr>
        <p:spPr>
          <a:xfrm>
            <a:off x="7789484" y="2173474"/>
            <a:ext cx="92044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Insurance</a:t>
            </a:r>
          </a:p>
        </p:txBody>
      </p:sp>
      <p:sp>
        <p:nvSpPr>
          <p:cNvPr id="35" name="Rectangle 34">
            <a:extLst>
              <a:ext uri="{FF2B5EF4-FFF2-40B4-BE49-F238E27FC236}">
                <a16:creationId xmlns:a16="http://schemas.microsoft.com/office/drawing/2014/main" id="{F93483C4-2792-4DBA-B44B-E29EC9B8FA5F}"/>
              </a:ext>
            </a:extLst>
          </p:cNvPr>
          <p:cNvSpPr/>
          <p:nvPr userDrawn="1"/>
        </p:nvSpPr>
        <p:spPr>
          <a:xfrm>
            <a:off x="733933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Adding value to our clients is our most important objective and thinking creatively is how we make it happen. Across the business areas of Property &amp; Casualty, Life &amp; Retirement, Reinsurance, Employee Benefits and Distribution (including brokers, MGAs, agents and wholesalers), Capco is innovating around the globe. Our services include a wide range of strategy and implementation offerings, from digital to core systems and data science.</a:t>
            </a:r>
          </a:p>
        </p:txBody>
      </p:sp>
      <p:sp>
        <p:nvSpPr>
          <p:cNvPr id="46" name="Rectangle 45">
            <a:extLst>
              <a:ext uri="{FF2B5EF4-FFF2-40B4-BE49-F238E27FC236}">
                <a16:creationId xmlns:a16="http://schemas.microsoft.com/office/drawing/2014/main" id="{68568709-4196-4F98-AC18-A8B75E682154}"/>
              </a:ext>
            </a:extLst>
          </p:cNvPr>
          <p:cNvSpPr/>
          <p:nvPr userDrawn="1"/>
        </p:nvSpPr>
        <p:spPr>
          <a:xfrm>
            <a:off x="10035978" y="2165178"/>
            <a:ext cx="6960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Energy</a:t>
            </a:r>
          </a:p>
        </p:txBody>
      </p:sp>
      <p:sp>
        <p:nvSpPr>
          <p:cNvPr id="38" name="Rectangle 37">
            <a:extLst>
              <a:ext uri="{FF2B5EF4-FFF2-40B4-BE49-F238E27FC236}">
                <a16:creationId xmlns:a16="http://schemas.microsoft.com/office/drawing/2014/main" id="{0AAA2FA2-D9E1-4684-8894-9E96D1F1240D}"/>
              </a:ext>
            </a:extLst>
          </p:cNvPr>
          <p:cNvSpPr/>
          <p:nvPr userDrawn="1"/>
        </p:nvSpPr>
        <p:spPr>
          <a:xfrm>
            <a:off x="9584054" y="2688401"/>
            <a:ext cx="2016865" cy="146758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Competition is fierce in today's energy markets. Regulation is tight, technology is disruptive, data is intensive, and processes are complex. We understand and simplify the energy industry to empower our clients to stay at the front of the pack.</a:t>
            </a:r>
          </a:p>
        </p:txBody>
      </p:sp>
      <p:pic>
        <p:nvPicPr>
          <p:cNvPr id="47" name="Graphic 46">
            <a:extLst>
              <a:ext uri="{FF2B5EF4-FFF2-40B4-BE49-F238E27FC236}">
                <a16:creationId xmlns:a16="http://schemas.microsoft.com/office/drawing/2014/main" id="{B69E219F-B828-4420-A2A4-24113626677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00390" y="2018074"/>
            <a:ext cx="161575" cy="409323"/>
          </a:xfrm>
          <a:prstGeom prst="rect">
            <a:avLst/>
          </a:prstGeom>
        </p:spPr>
      </p:pic>
      <p:pic>
        <p:nvPicPr>
          <p:cNvPr id="48" name="Graphic 47">
            <a:extLst>
              <a:ext uri="{FF2B5EF4-FFF2-40B4-BE49-F238E27FC236}">
                <a16:creationId xmlns:a16="http://schemas.microsoft.com/office/drawing/2014/main" id="{F14AF7E2-6AC3-4DCF-B758-BE35EF2CCBE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4907" y="1974188"/>
            <a:ext cx="502206" cy="453210"/>
          </a:xfrm>
          <a:prstGeom prst="rect">
            <a:avLst/>
          </a:prstGeom>
        </p:spPr>
      </p:pic>
      <p:pic>
        <p:nvPicPr>
          <p:cNvPr id="49" name="Graphic 48">
            <a:extLst>
              <a:ext uri="{FF2B5EF4-FFF2-40B4-BE49-F238E27FC236}">
                <a16:creationId xmlns:a16="http://schemas.microsoft.com/office/drawing/2014/main" id="{69FE54B5-90E7-48C7-AE37-919CE06428A6}"/>
              </a:ext>
              <a:ext uri="{C183D7F6-B498-43B3-948B-1728B52AA6E4}">
                <adec:decorative xmlns:adec="http://schemas.microsoft.com/office/drawing/2017/decorative" val="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94109" y="1974188"/>
            <a:ext cx="557250" cy="445800"/>
          </a:xfrm>
          <a:prstGeom prst="rect">
            <a:avLst/>
          </a:prstGeom>
        </p:spPr>
      </p:pic>
      <p:pic>
        <p:nvPicPr>
          <p:cNvPr id="50" name="Graphic 49">
            <a:extLst>
              <a:ext uri="{FF2B5EF4-FFF2-40B4-BE49-F238E27FC236}">
                <a16:creationId xmlns:a16="http://schemas.microsoft.com/office/drawing/2014/main" id="{4EA1478D-747B-4005-B387-532CCCA7E067}"/>
              </a:ext>
              <a:ext uri="{C183D7F6-B498-43B3-948B-1728B52AA6E4}">
                <adec:decorative xmlns:adec="http://schemas.microsoft.com/office/drawing/2017/decorative" val="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668010" y="1924505"/>
            <a:ext cx="360343" cy="493803"/>
          </a:xfrm>
          <a:prstGeom prst="rect">
            <a:avLst/>
          </a:prstGeom>
        </p:spPr>
      </p:pic>
      <p:pic>
        <p:nvPicPr>
          <p:cNvPr id="51" name="Graphic 50">
            <a:extLst>
              <a:ext uri="{FF2B5EF4-FFF2-40B4-BE49-F238E27FC236}">
                <a16:creationId xmlns:a16="http://schemas.microsoft.com/office/drawing/2014/main" id="{1A91C601-C8A7-4220-B04D-6F8CF4260871}"/>
              </a:ext>
              <a:ext uri="{C183D7F6-B498-43B3-948B-1728B52AA6E4}">
                <adec:decorative xmlns:adec="http://schemas.microsoft.com/office/drawing/2017/decorative" val="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346583" y="2001010"/>
            <a:ext cx="427338" cy="427338"/>
          </a:xfrm>
          <a:prstGeom prst="rect">
            <a:avLst/>
          </a:prstGeom>
        </p:spPr>
      </p:pic>
      <p:sp>
        <p:nvSpPr>
          <p:cNvPr id="5" name="Footer Placeholder 3">
            <a:extLst>
              <a:ext uri="{FF2B5EF4-FFF2-40B4-BE49-F238E27FC236}">
                <a16:creationId xmlns:a16="http://schemas.microsoft.com/office/drawing/2014/main" id="{E99C7981-0EEE-4F6D-A405-BF1594469F15}"/>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6366219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Our Industry Domains_dark">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675C788-6157-482F-A486-0EEAF7161C22}"/>
              </a:ext>
              <a:ext uri="{C183D7F6-B498-43B3-948B-1728B52AA6E4}">
                <adec:decorative xmlns:adec="http://schemas.microsoft.com/office/drawing/2017/decorative" val="1"/>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sp>
        <p:nvSpPr>
          <p:cNvPr id="6" name="TextBox 5">
            <a:extLst>
              <a:ext uri="{FF2B5EF4-FFF2-40B4-BE49-F238E27FC236}">
                <a16:creationId xmlns:a16="http://schemas.microsoft.com/office/drawing/2014/main" id="{1F8338AC-4500-47E3-BBAF-D63CA2D1C27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Century Gothic" panose="020B0502020202020204" pitchFamily="34" charset="0"/>
                <a:ea typeface="+mj-ea"/>
                <a:cs typeface="+mj-cs"/>
              </a:rPr>
              <a:t>Our Industry Domains</a:t>
            </a:r>
          </a:p>
        </p:txBody>
      </p:sp>
      <p:sp>
        <p:nvSpPr>
          <p:cNvPr id="9" name="Rectangle 8">
            <a:extLst>
              <a:ext uri="{FF2B5EF4-FFF2-40B4-BE49-F238E27FC236}">
                <a16:creationId xmlns:a16="http://schemas.microsoft.com/office/drawing/2014/main" id="{8C4EFE66-7746-438A-BDD7-D4C86ECB6589}"/>
              </a:ext>
              <a:ext uri="{C183D7F6-B498-43B3-948B-1728B52AA6E4}">
                <adec:decorative xmlns:adec="http://schemas.microsoft.com/office/drawing/2017/decorative" val="1"/>
              </a:ext>
            </a:extLst>
          </p:cNvPr>
          <p:cNvSpPr/>
          <p:nvPr userDrawn="1"/>
        </p:nvSpPr>
        <p:spPr>
          <a:xfrm>
            <a:off x="559048"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EBC5CC8-7786-408D-93AD-5F468B3DEAF7}"/>
              </a:ext>
              <a:ext uri="{C183D7F6-B498-43B3-948B-1728B52AA6E4}">
                <adec:decorative xmlns:adec="http://schemas.microsoft.com/office/drawing/2017/decorative" val="1"/>
              </a:ext>
            </a:extLst>
          </p:cNvPr>
          <p:cNvSpPr/>
          <p:nvPr userDrawn="1"/>
        </p:nvSpPr>
        <p:spPr>
          <a:xfrm>
            <a:off x="2803767" y="2666040"/>
            <a:ext cx="2109124" cy="3107671"/>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8032315-9617-47FB-AD91-88C8100047DF}"/>
              </a:ext>
              <a:ext uri="{C183D7F6-B498-43B3-948B-1728B52AA6E4}">
                <adec:decorative xmlns:adec="http://schemas.microsoft.com/office/drawing/2017/decorative" val="1"/>
              </a:ext>
            </a:extLst>
          </p:cNvPr>
          <p:cNvSpPr/>
          <p:nvPr userDrawn="1"/>
        </p:nvSpPr>
        <p:spPr>
          <a:xfrm>
            <a:off x="5048486"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D14EF52-ED62-4610-953D-3E9A49310ED6}"/>
              </a:ext>
              <a:ext uri="{C183D7F6-B498-43B3-948B-1728B52AA6E4}">
                <adec:decorative xmlns:adec="http://schemas.microsoft.com/office/drawing/2017/decorative" val="1"/>
              </a:ext>
            </a:extLst>
          </p:cNvPr>
          <p:cNvSpPr/>
          <p:nvPr userDrawn="1"/>
        </p:nvSpPr>
        <p:spPr>
          <a:xfrm>
            <a:off x="7293205" y="2666040"/>
            <a:ext cx="2109124" cy="3107671"/>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437078C-8DA1-4066-8E13-8329AA296C1B}"/>
              </a:ext>
              <a:ext uri="{C183D7F6-B498-43B3-948B-1728B52AA6E4}">
                <adec:decorative xmlns:adec="http://schemas.microsoft.com/office/drawing/2017/decorative" val="1"/>
              </a:ext>
            </a:extLst>
          </p:cNvPr>
          <p:cNvSpPr/>
          <p:nvPr userDrawn="1"/>
        </p:nvSpPr>
        <p:spPr>
          <a:xfrm>
            <a:off x="9537925"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FFFFF"/>
              </a:solidFill>
              <a:effectLst/>
              <a:uLnTx/>
              <a:uFillTx/>
              <a:latin typeface="Calibri" panose="020F0502020204030204"/>
            </a:endParaRPr>
          </a:p>
        </p:txBody>
      </p:sp>
      <p:cxnSp>
        <p:nvCxnSpPr>
          <p:cNvPr id="15" name="Straight Connector 14">
            <a:extLst>
              <a:ext uri="{FF2B5EF4-FFF2-40B4-BE49-F238E27FC236}">
                <a16:creationId xmlns:a16="http://schemas.microsoft.com/office/drawing/2014/main" id="{ED352967-2C31-43D7-902C-CC6EB04D630B}"/>
              </a:ext>
              <a:ext uri="{C183D7F6-B498-43B3-948B-1728B52AA6E4}">
                <adec:decorative xmlns:adec="http://schemas.microsoft.com/office/drawing/2017/decorative" val="1"/>
              </a:ext>
            </a:extLst>
          </p:cNvPr>
          <p:cNvCxnSpPr>
            <a:cxnSpLocks/>
          </p:cNvCxnSpPr>
          <p:nvPr userDrawn="1"/>
        </p:nvCxnSpPr>
        <p:spPr>
          <a:xfrm>
            <a:off x="559048"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B19A45-1B74-4568-B4D9-AFFE0B99B2ED}"/>
              </a:ext>
              <a:ext uri="{C183D7F6-B498-43B3-948B-1728B52AA6E4}">
                <adec:decorative xmlns:adec="http://schemas.microsoft.com/office/drawing/2017/decorative" val="1"/>
              </a:ext>
            </a:extLst>
          </p:cNvPr>
          <p:cNvCxnSpPr>
            <a:cxnSpLocks/>
          </p:cNvCxnSpPr>
          <p:nvPr userDrawn="1"/>
        </p:nvCxnSpPr>
        <p:spPr>
          <a:xfrm>
            <a:off x="2803767"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DAC0FF-421A-4F45-8A74-C5F6EFC5C34E}"/>
              </a:ext>
              <a:ext uri="{C183D7F6-B498-43B3-948B-1728B52AA6E4}">
                <adec:decorative xmlns:adec="http://schemas.microsoft.com/office/drawing/2017/decorative" val="1"/>
              </a:ext>
            </a:extLst>
          </p:cNvPr>
          <p:cNvCxnSpPr>
            <a:cxnSpLocks/>
          </p:cNvCxnSpPr>
          <p:nvPr userDrawn="1"/>
        </p:nvCxnSpPr>
        <p:spPr>
          <a:xfrm>
            <a:off x="5048486"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E9F117-E8FC-4305-98ED-CB78D87915F2}"/>
              </a:ext>
              <a:ext uri="{C183D7F6-B498-43B3-948B-1728B52AA6E4}">
                <adec:decorative xmlns:adec="http://schemas.microsoft.com/office/drawing/2017/decorative" val="1"/>
              </a:ext>
            </a:extLst>
          </p:cNvPr>
          <p:cNvCxnSpPr>
            <a:cxnSpLocks/>
          </p:cNvCxnSpPr>
          <p:nvPr userDrawn="1"/>
        </p:nvCxnSpPr>
        <p:spPr>
          <a:xfrm>
            <a:off x="729320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C0CCFD-24F3-408E-AB82-1758702D40EC}"/>
              </a:ext>
              <a:ext uri="{C183D7F6-B498-43B3-948B-1728B52AA6E4}">
                <adec:decorative xmlns:adec="http://schemas.microsoft.com/office/drawing/2017/decorative" val="1"/>
              </a:ext>
            </a:extLst>
          </p:cNvPr>
          <p:cNvCxnSpPr>
            <a:cxnSpLocks/>
          </p:cNvCxnSpPr>
          <p:nvPr userDrawn="1"/>
        </p:nvCxnSpPr>
        <p:spPr>
          <a:xfrm>
            <a:off x="953792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DBBC811-0438-4FA0-8E60-0DD471662DDF}"/>
              </a:ext>
            </a:extLst>
          </p:cNvPr>
          <p:cNvSpPr/>
          <p:nvPr userDrawn="1"/>
        </p:nvSpPr>
        <p:spPr>
          <a:xfrm>
            <a:off x="1211521" y="2068246"/>
            <a:ext cx="112527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Ban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amp; Payments</a:t>
            </a:r>
          </a:p>
        </p:txBody>
      </p:sp>
      <p:sp>
        <p:nvSpPr>
          <p:cNvPr id="32" name="Rectangle 31">
            <a:extLst>
              <a:ext uri="{FF2B5EF4-FFF2-40B4-BE49-F238E27FC236}">
                <a16:creationId xmlns:a16="http://schemas.microsoft.com/office/drawing/2014/main" id="{E1738EF0-2619-417F-8B0D-D40AEFAA5A19}"/>
              </a:ext>
            </a:extLst>
          </p:cNvPr>
          <p:cNvSpPr/>
          <p:nvPr userDrawn="1"/>
        </p:nvSpPr>
        <p:spPr>
          <a:xfrm>
            <a:off x="605177" y="2688401"/>
            <a:ext cx="2016865" cy="1640449"/>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novation is fueling consumer expectations in banking and payments, requiring banks to implement huge changes to stay current. At Capco, we help our clients emerge as winners, achieving operational excellence whilst delivering transformed customer experiences.</a:t>
            </a:r>
          </a:p>
        </p:txBody>
      </p:sp>
      <p:sp>
        <p:nvSpPr>
          <p:cNvPr id="44" name="Rectangle 43">
            <a:extLst>
              <a:ext uri="{FF2B5EF4-FFF2-40B4-BE49-F238E27FC236}">
                <a16:creationId xmlns:a16="http://schemas.microsoft.com/office/drawing/2014/main" id="{EE7C0F63-1DC8-4339-AA43-2825A1B76588}"/>
              </a:ext>
            </a:extLst>
          </p:cNvPr>
          <p:cNvSpPr/>
          <p:nvPr userDrawn="1"/>
        </p:nvSpPr>
        <p:spPr>
          <a:xfrm>
            <a:off x="3465496" y="2168701"/>
            <a:ext cx="140126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Capital Markets</a:t>
            </a:r>
          </a:p>
        </p:txBody>
      </p:sp>
      <p:sp>
        <p:nvSpPr>
          <p:cNvPr id="33" name="Rectangle 32">
            <a:extLst>
              <a:ext uri="{FF2B5EF4-FFF2-40B4-BE49-F238E27FC236}">
                <a16:creationId xmlns:a16="http://schemas.microsoft.com/office/drawing/2014/main" id="{0850FDE8-2780-4C96-A7BC-E00685275EA8}"/>
              </a:ext>
            </a:extLst>
          </p:cNvPr>
          <p:cNvSpPr/>
          <p:nvPr userDrawn="1"/>
        </p:nvSpPr>
        <p:spPr>
          <a:xfrm>
            <a:off x="2849896" y="2688401"/>
            <a:ext cx="2016865" cy="146758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apital markets is where Capco started – it is at the heart of what we do. We understand today’s challenging regulatory landscape, the demand to stay competitive and the ever-present need to cut costs. We help banking clients optimize performance. Expertly.</a:t>
            </a:r>
          </a:p>
        </p:txBody>
      </p:sp>
      <p:sp>
        <p:nvSpPr>
          <p:cNvPr id="45" name="Rectangle 44">
            <a:extLst>
              <a:ext uri="{FF2B5EF4-FFF2-40B4-BE49-F238E27FC236}">
                <a16:creationId xmlns:a16="http://schemas.microsoft.com/office/drawing/2014/main" id="{C833D2A7-C25D-4E6F-8D16-357CB3B9D115}"/>
              </a:ext>
            </a:extLst>
          </p:cNvPr>
          <p:cNvSpPr/>
          <p:nvPr userDrawn="1"/>
        </p:nvSpPr>
        <p:spPr>
          <a:xfrm>
            <a:off x="5412870" y="2052000"/>
            <a:ext cx="134798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Wealth &amp; As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Management</a:t>
            </a:r>
          </a:p>
        </p:txBody>
      </p:sp>
      <p:sp>
        <p:nvSpPr>
          <p:cNvPr id="34" name="Rectangle 33">
            <a:extLst>
              <a:ext uri="{FF2B5EF4-FFF2-40B4-BE49-F238E27FC236}">
                <a16:creationId xmlns:a16="http://schemas.microsoft.com/office/drawing/2014/main" id="{BE56F7C0-C4EA-460B-AF73-FD6A9E5FF401}"/>
              </a:ext>
            </a:extLst>
          </p:cNvPr>
          <p:cNvSpPr/>
          <p:nvPr userDrawn="1"/>
        </p:nvSpPr>
        <p:spPr>
          <a:xfrm>
            <a:off x="509461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ealth and Asset Management is entering a revolution – the advisory space is now a hybrid of human and robotic interactions working together to deliver enhanced client services. We focus on digital trust, API and transformation strategy because we recognize that costs are on the rise, and regulatory pressures are adding to complexity. Our clients want to optimize operations while realizing digital opportunities – Capco helps to achieve this. </a:t>
            </a:r>
          </a:p>
        </p:txBody>
      </p:sp>
      <p:sp>
        <p:nvSpPr>
          <p:cNvPr id="46" name="Rectangle 45">
            <a:extLst>
              <a:ext uri="{FF2B5EF4-FFF2-40B4-BE49-F238E27FC236}">
                <a16:creationId xmlns:a16="http://schemas.microsoft.com/office/drawing/2014/main" id="{32BD61C3-874A-48DC-B915-E3D2A1DF5A20}"/>
              </a:ext>
            </a:extLst>
          </p:cNvPr>
          <p:cNvSpPr/>
          <p:nvPr userDrawn="1"/>
        </p:nvSpPr>
        <p:spPr>
          <a:xfrm>
            <a:off x="7789484" y="2173474"/>
            <a:ext cx="92044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Insurance</a:t>
            </a:r>
          </a:p>
        </p:txBody>
      </p:sp>
      <p:sp>
        <p:nvSpPr>
          <p:cNvPr id="35" name="Rectangle 34">
            <a:extLst>
              <a:ext uri="{FF2B5EF4-FFF2-40B4-BE49-F238E27FC236}">
                <a16:creationId xmlns:a16="http://schemas.microsoft.com/office/drawing/2014/main" id="{F93483C4-2792-4DBA-B44B-E29EC9B8FA5F}"/>
              </a:ext>
            </a:extLst>
          </p:cNvPr>
          <p:cNvSpPr/>
          <p:nvPr userDrawn="1"/>
        </p:nvSpPr>
        <p:spPr>
          <a:xfrm>
            <a:off x="733933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dding value to our clients is our most important objective and thinking creatively is how we make it happen. Across the business areas of Property &amp; Casualty, Life &amp; Retirement, Reinsurance, Employee Benefits and Distribution (including brokers, MGAs, agents and wholesalers), Capco is innovating around the globe. Our services include a wide range of strategy and implementation offerings, from digital to core systems and data science.</a:t>
            </a:r>
          </a:p>
        </p:txBody>
      </p:sp>
      <p:sp>
        <p:nvSpPr>
          <p:cNvPr id="47" name="Rectangle 46">
            <a:extLst>
              <a:ext uri="{FF2B5EF4-FFF2-40B4-BE49-F238E27FC236}">
                <a16:creationId xmlns:a16="http://schemas.microsoft.com/office/drawing/2014/main" id="{F03E52A9-04CA-4816-AF10-02963F97616E}"/>
              </a:ext>
            </a:extLst>
          </p:cNvPr>
          <p:cNvSpPr/>
          <p:nvPr userDrawn="1"/>
        </p:nvSpPr>
        <p:spPr>
          <a:xfrm>
            <a:off x="10035978" y="2165178"/>
            <a:ext cx="6960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Energy</a:t>
            </a:r>
          </a:p>
        </p:txBody>
      </p:sp>
      <p:sp>
        <p:nvSpPr>
          <p:cNvPr id="38" name="Rectangle 37">
            <a:extLst>
              <a:ext uri="{FF2B5EF4-FFF2-40B4-BE49-F238E27FC236}">
                <a16:creationId xmlns:a16="http://schemas.microsoft.com/office/drawing/2014/main" id="{0AAA2FA2-D9E1-4684-8894-9E96D1F1240D}"/>
              </a:ext>
            </a:extLst>
          </p:cNvPr>
          <p:cNvSpPr/>
          <p:nvPr userDrawn="1"/>
        </p:nvSpPr>
        <p:spPr>
          <a:xfrm>
            <a:off x="9584054" y="2688401"/>
            <a:ext cx="2016865" cy="146758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ompetition is fierce in today's energy markets. Regulation is tight, technology is disruptive, data is intensive, and processes are complex. We understand and simplify the energy industry to empower our clients to stay at the front of the pack.</a:t>
            </a:r>
          </a:p>
        </p:txBody>
      </p:sp>
      <p:pic>
        <p:nvPicPr>
          <p:cNvPr id="48" name="Graphic 47">
            <a:extLst>
              <a:ext uri="{FF2B5EF4-FFF2-40B4-BE49-F238E27FC236}">
                <a16:creationId xmlns:a16="http://schemas.microsoft.com/office/drawing/2014/main" id="{A5E4D6C9-30FD-491C-9EA7-9F1EE24D7DAE}"/>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00390" y="2018074"/>
            <a:ext cx="161575" cy="409323"/>
          </a:xfrm>
          <a:prstGeom prst="rect">
            <a:avLst/>
          </a:prstGeom>
        </p:spPr>
      </p:pic>
      <p:pic>
        <p:nvPicPr>
          <p:cNvPr id="49" name="Graphic 48">
            <a:extLst>
              <a:ext uri="{FF2B5EF4-FFF2-40B4-BE49-F238E27FC236}">
                <a16:creationId xmlns:a16="http://schemas.microsoft.com/office/drawing/2014/main" id="{2FC22D93-C4D9-4AF3-B8B7-8720D6ACBCF5}"/>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4907" y="1974188"/>
            <a:ext cx="502206" cy="453210"/>
          </a:xfrm>
          <a:prstGeom prst="rect">
            <a:avLst/>
          </a:prstGeom>
        </p:spPr>
      </p:pic>
      <p:pic>
        <p:nvPicPr>
          <p:cNvPr id="50" name="Graphic 49">
            <a:extLst>
              <a:ext uri="{FF2B5EF4-FFF2-40B4-BE49-F238E27FC236}">
                <a16:creationId xmlns:a16="http://schemas.microsoft.com/office/drawing/2014/main" id="{45D47D7A-72D8-45FF-AD20-65F0A8CA4721}"/>
              </a:ext>
              <a:ext uri="{C183D7F6-B498-43B3-948B-1728B52AA6E4}">
                <adec:decorative xmlns:adec="http://schemas.microsoft.com/office/drawing/2017/decorative" val="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94109" y="1974188"/>
            <a:ext cx="557250" cy="445800"/>
          </a:xfrm>
          <a:prstGeom prst="rect">
            <a:avLst/>
          </a:prstGeom>
        </p:spPr>
      </p:pic>
      <p:pic>
        <p:nvPicPr>
          <p:cNvPr id="51" name="Graphic 50">
            <a:extLst>
              <a:ext uri="{FF2B5EF4-FFF2-40B4-BE49-F238E27FC236}">
                <a16:creationId xmlns:a16="http://schemas.microsoft.com/office/drawing/2014/main" id="{B2F7D160-F8E2-4BEC-888C-44577106BE09}"/>
              </a:ext>
              <a:ext uri="{C183D7F6-B498-43B3-948B-1728B52AA6E4}">
                <adec:decorative xmlns:adec="http://schemas.microsoft.com/office/drawing/2017/decorative" val="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668010" y="1924505"/>
            <a:ext cx="360343" cy="493803"/>
          </a:xfrm>
          <a:prstGeom prst="rect">
            <a:avLst/>
          </a:prstGeom>
        </p:spPr>
      </p:pic>
      <p:pic>
        <p:nvPicPr>
          <p:cNvPr id="52" name="Graphic 51">
            <a:extLst>
              <a:ext uri="{FF2B5EF4-FFF2-40B4-BE49-F238E27FC236}">
                <a16:creationId xmlns:a16="http://schemas.microsoft.com/office/drawing/2014/main" id="{D4E24F0A-51F5-4072-B3F7-72CADD5FBF04}"/>
              </a:ext>
              <a:ext uri="{C183D7F6-B498-43B3-948B-1728B52AA6E4}">
                <adec:decorative xmlns:adec="http://schemas.microsoft.com/office/drawing/2017/decorative" val="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346583" y="2001010"/>
            <a:ext cx="427338" cy="427338"/>
          </a:xfrm>
          <a:prstGeom prst="rect">
            <a:avLst/>
          </a:prstGeom>
        </p:spPr>
      </p:pic>
      <p:sp>
        <p:nvSpPr>
          <p:cNvPr id="5" name="Footer Placeholder 3">
            <a:extLst>
              <a:ext uri="{FF2B5EF4-FFF2-40B4-BE49-F238E27FC236}">
                <a16:creationId xmlns:a16="http://schemas.microsoft.com/office/drawing/2014/main" id="{E99C7981-0EEE-4F6D-A405-BF1594469F15}"/>
              </a:ext>
              <a:ext uri="{C183D7F6-B498-43B3-948B-1728B52AA6E4}">
                <adec:decorative xmlns:adec="http://schemas.microsoft.com/office/drawing/2017/decorative" val="0"/>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4362380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bout Capco">
    <p:spTree>
      <p:nvGrpSpPr>
        <p:cNvPr id="1" name=""/>
        <p:cNvGrpSpPr/>
        <p:nvPr/>
      </p:nvGrpSpPr>
      <p:grpSpPr>
        <a:xfrm>
          <a:off x="0" y="0"/>
          <a:ext cx="0" cy="0"/>
          <a:chOff x="0" y="0"/>
          <a:chExt cx="0" cy="0"/>
        </a:xfrm>
      </p:grpSpPr>
      <p:pic>
        <p:nvPicPr>
          <p:cNvPr id="79" name="Picture 78">
            <a:extLst>
              <a:ext uri="{FF2B5EF4-FFF2-40B4-BE49-F238E27FC236}">
                <a16:creationId xmlns:a16="http://schemas.microsoft.com/office/drawing/2014/main" id="{4A5946CE-9E95-4FA6-8D5F-7EC5C7F64ACF}"/>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cxnSp>
        <p:nvCxnSpPr>
          <p:cNvPr id="83" name="Straight Connector 82">
            <a:extLst>
              <a:ext uri="{FF2B5EF4-FFF2-40B4-BE49-F238E27FC236}">
                <a16:creationId xmlns:a16="http://schemas.microsoft.com/office/drawing/2014/main" id="{01AE9B42-024F-4F0D-B3F5-AA9D3B52C6CD}"/>
              </a:ext>
              <a:ext uri="{C183D7F6-B498-43B3-948B-1728B52AA6E4}">
                <adec:decorative xmlns:adec="http://schemas.microsoft.com/office/drawing/2017/decorative" val="1"/>
              </a:ext>
            </a:extLst>
          </p:cNvPr>
          <p:cNvCxnSpPr>
            <a:cxnSpLocks/>
          </p:cNvCxnSpPr>
          <p:nvPr userDrawn="1"/>
        </p:nvCxnSpPr>
        <p:spPr>
          <a:xfrm>
            <a:off x="542647" y="1876342"/>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560BF4C-BE22-40C2-BC16-8017322DB6DF}"/>
              </a:ext>
              <a:ext uri="{C183D7F6-B498-43B3-948B-1728B52AA6E4}">
                <adec:decorative xmlns:adec="http://schemas.microsoft.com/office/drawing/2017/decorative" val="1"/>
              </a:ext>
            </a:extLst>
          </p:cNvPr>
          <p:cNvCxnSpPr>
            <a:cxnSpLocks/>
          </p:cNvCxnSpPr>
          <p:nvPr userDrawn="1"/>
        </p:nvCxnSpPr>
        <p:spPr>
          <a:xfrm>
            <a:off x="559048" y="5866155"/>
            <a:ext cx="138922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7E97E5DF-E3D3-4B55-B37C-1E11FB417C4E}"/>
              </a:ext>
              <a:ext uri="{C183D7F6-B498-43B3-948B-1728B52AA6E4}">
                <adec:decorative xmlns:adec="http://schemas.microsoft.com/office/drawing/2017/decorative" val="1"/>
              </a:ext>
            </a:extLst>
          </p:cNvPr>
          <p:cNvGrpSpPr/>
          <p:nvPr userDrawn="1"/>
        </p:nvGrpSpPr>
        <p:grpSpPr>
          <a:xfrm>
            <a:off x="560383" y="5293369"/>
            <a:ext cx="472469" cy="459983"/>
            <a:chOff x="2827687" y="2375038"/>
            <a:chExt cx="496315" cy="483199"/>
          </a:xfrm>
        </p:grpSpPr>
        <p:sp>
          <p:nvSpPr>
            <p:cNvPr id="108" name="Freeform: Shape 107">
              <a:extLst>
                <a:ext uri="{FF2B5EF4-FFF2-40B4-BE49-F238E27FC236}">
                  <a16:creationId xmlns:a16="http://schemas.microsoft.com/office/drawing/2014/main" id="{3D5640B5-99EF-452E-AF49-2A5AB2D045D2}"/>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09" name="Freeform: Shape 108">
              <a:extLst>
                <a:ext uri="{FF2B5EF4-FFF2-40B4-BE49-F238E27FC236}">
                  <a16:creationId xmlns:a16="http://schemas.microsoft.com/office/drawing/2014/main" id="{656B30B8-A790-4F65-A141-2A041A96E151}"/>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10" name="Freeform: Shape 109">
              <a:extLst>
                <a:ext uri="{FF2B5EF4-FFF2-40B4-BE49-F238E27FC236}">
                  <a16:creationId xmlns:a16="http://schemas.microsoft.com/office/drawing/2014/main" id="{BF32DE55-E196-4BD5-AEA8-D84911AA6A10}"/>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11" name="Freeform: Shape 110">
              <a:extLst>
                <a:ext uri="{FF2B5EF4-FFF2-40B4-BE49-F238E27FC236}">
                  <a16:creationId xmlns:a16="http://schemas.microsoft.com/office/drawing/2014/main" id="{4BEDB6F5-9DFB-44FA-B086-0136A0D30359}"/>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2" name="Freeform: Shape 111">
              <a:extLst>
                <a:ext uri="{FF2B5EF4-FFF2-40B4-BE49-F238E27FC236}">
                  <a16:creationId xmlns:a16="http://schemas.microsoft.com/office/drawing/2014/main" id="{EAD7EADB-102D-4DE7-8CF0-22947A80ADA4}"/>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3" name="Freeform: Shape 112">
              <a:extLst>
                <a:ext uri="{FF2B5EF4-FFF2-40B4-BE49-F238E27FC236}">
                  <a16:creationId xmlns:a16="http://schemas.microsoft.com/office/drawing/2014/main" id="{133E9ABC-E23B-4C4B-B8B9-DFF45D0E7E5C}"/>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4" name="Freeform: Shape 113">
              <a:extLst>
                <a:ext uri="{FF2B5EF4-FFF2-40B4-BE49-F238E27FC236}">
                  <a16:creationId xmlns:a16="http://schemas.microsoft.com/office/drawing/2014/main" id="{E22AB3B5-9695-4D4A-BFDE-A798294B2483}"/>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grpSp>
      <p:cxnSp>
        <p:nvCxnSpPr>
          <p:cNvPr id="116" name="Straight Connector 115">
            <a:extLst>
              <a:ext uri="{FF2B5EF4-FFF2-40B4-BE49-F238E27FC236}">
                <a16:creationId xmlns:a16="http://schemas.microsoft.com/office/drawing/2014/main" id="{F2E24110-EE3D-461A-AAF6-51C3A5C4CAF4}"/>
              </a:ext>
              <a:ext uri="{C183D7F6-B498-43B3-948B-1728B52AA6E4}">
                <adec:decorative xmlns:adec="http://schemas.microsoft.com/office/drawing/2017/decorative" val="1"/>
              </a:ext>
            </a:extLst>
          </p:cNvPr>
          <p:cNvCxnSpPr>
            <a:cxnSpLocks/>
          </p:cNvCxnSpPr>
          <p:nvPr userDrawn="1"/>
        </p:nvCxnSpPr>
        <p:spPr>
          <a:xfrm>
            <a:off x="298374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2C6D0E3F-1E60-4F92-B2AC-81E22770C62B}"/>
              </a:ext>
              <a:ext uri="{C183D7F6-B498-43B3-948B-1728B52AA6E4}">
                <adec:decorative xmlns:adec="http://schemas.microsoft.com/office/drawing/2017/decorative" val="1"/>
              </a:ext>
            </a:extLst>
          </p:cNvPr>
          <p:cNvGrpSpPr/>
          <p:nvPr userDrawn="1"/>
        </p:nvGrpSpPr>
        <p:grpSpPr>
          <a:xfrm>
            <a:off x="3096992" y="5293867"/>
            <a:ext cx="248640" cy="459485"/>
            <a:chOff x="6265015" y="5709762"/>
            <a:chExt cx="261189" cy="482675"/>
          </a:xfrm>
        </p:grpSpPr>
        <p:sp>
          <p:nvSpPr>
            <p:cNvPr id="134" name="Freeform: Shape 133">
              <a:extLst>
                <a:ext uri="{FF2B5EF4-FFF2-40B4-BE49-F238E27FC236}">
                  <a16:creationId xmlns:a16="http://schemas.microsoft.com/office/drawing/2014/main" id="{5E601E43-4963-4281-B92C-FFE84ED854ED}"/>
                </a:ext>
              </a:extLst>
            </p:cNvPr>
            <p:cNvSpPr/>
            <p:nvPr/>
          </p:nvSpPr>
          <p:spPr>
            <a:xfrm>
              <a:off x="6265015" y="5709762"/>
              <a:ext cx="261189" cy="352604"/>
            </a:xfrm>
            <a:custGeom>
              <a:avLst/>
              <a:gdLst>
                <a:gd name="connsiteX0" fmla="*/ 192024 w 190500"/>
                <a:gd name="connsiteY0" fmla="*/ 95917 h 257175"/>
                <a:gd name="connsiteX1" fmla="*/ 188214 w 190500"/>
                <a:gd name="connsiteY1" fmla="*/ 122682 h 257175"/>
                <a:gd name="connsiteX2" fmla="*/ 187643 w 190500"/>
                <a:gd name="connsiteY2" fmla="*/ 124492 h 257175"/>
                <a:gd name="connsiteX3" fmla="*/ 180118 w 190500"/>
                <a:gd name="connsiteY3" fmla="*/ 142208 h 257175"/>
                <a:gd name="connsiteX4" fmla="*/ 144780 w 190500"/>
                <a:gd name="connsiteY4" fmla="*/ 261747 h 257175"/>
                <a:gd name="connsiteX5" fmla="*/ 47339 w 190500"/>
                <a:gd name="connsiteY5" fmla="*/ 261747 h 257175"/>
                <a:gd name="connsiteX6" fmla="*/ 12192 w 190500"/>
                <a:gd name="connsiteY6" fmla="*/ 142780 h 257175"/>
                <a:gd name="connsiteX7" fmla="*/ 4191 w 190500"/>
                <a:gd name="connsiteY7" fmla="*/ 123825 h 257175"/>
                <a:gd name="connsiteX8" fmla="*/ 3810 w 190500"/>
                <a:gd name="connsiteY8" fmla="*/ 122777 h 257175"/>
                <a:gd name="connsiteX9" fmla="*/ 0 w 190500"/>
                <a:gd name="connsiteY9" fmla="*/ 96012 h 257175"/>
                <a:gd name="connsiteX10" fmla="*/ 96012 w 190500"/>
                <a:gd name="connsiteY10" fmla="*/ 0 h 257175"/>
                <a:gd name="connsiteX11" fmla="*/ 192024 w 190500"/>
                <a:gd name="connsiteY11" fmla="*/ 9591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257175">
                  <a:moveTo>
                    <a:pt x="192024" y="95917"/>
                  </a:moveTo>
                  <a:cubicBezTo>
                    <a:pt x="192024" y="105251"/>
                    <a:pt x="190691" y="114205"/>
                    <a:pt x="188214" y="122682"/>
                  </a:cubicBezTo>
                  <a:cubicBezTo>
                    <a:pt x="188024" y="123254"/>
                    <a:pt x="187833" y="123921"/>
                    <a:pt x="187643" y="124492"/>
                  </a:cubicBezTo>
                  <a:cubicBezTo>
                    <a:pt x="187643" y="124492"/>
                    <a:pt x="182594" y="136017"/>
                    <a:pt x="180118" y="142208"/>
                  </a:cubicBezTo>
                  <a:cubicBezTo>
                    <a:pt x="159734" y="193834"/>
                    <a:pt x="144780" y="261747"/>
                    <a:pt x="144780" y="261747"/>
                  </a:cubicBezTo>
                  <a:lnTo>
                    <a:pt x="47339" y="261747"/>
                  </a:lnTo>
                  <a:cubicBezTo>
                    <a:pt x="47339" y="261747"/>
                    <a:pt x="32480" y="194310"/>
                    <a:pt x="12192" y="142780"/>
                  </a:cubicBezTo>
                  <a:cubicBezTo>
                    <a:pt x="9525" y="136112"/>
                    <a:pt x="6858" y="129731"/>
                    <a:pt x="4191" y="123825"/>
                  </a:cubicBezTo>
                  <a:cubicBezTo>
                    <a:pt x="4001" y="123539"/>
                    <a:pt x="3905" y="123158"/>
                    <a:pt x="3810" y="122777"/>
                  </a:cubicBezTo>
                  <a:cubicBezTo>
                    <a:pt x="1334" y="114300"/>
                    <a:pt x="0" y="105347"/>
                    <a:pt x="0" y="96012"/>
                  </a:cubicBezTo>
                  <a:cubicBezTo>
                    <a:pt x="0" y="42958"/>
                    <a:pt x="43053" y="0"/>
                    <a:pt x="96012" y="0"/>
                  </a:cubicBezTo>
                  <a:cubicBezTo>
                    <a:pt x="149066" y="-95"/>
                    <a:pt x="192024" y="42863"/>
                    <a:pt x="192024" y="95917"/>
                  </a:cubicBezTo>
                  <a:close/>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35" name="Freeform: Shape 134">
              <a:extLst>
                <a:ext uri="{FF2B5EF4-FFF2-40B4-BE49-F238E27FC236}">
                  <a16:creationId xmlns:a16="http://schemas.microsoft.com/office/drawing/2014/main" id="{B96E3853-C661-4C3D-B8EB-4C0187E0EA93}"/>
                </a:ext>
              </a:extLst>
            </p:cNvPr>
            <p:cNvSpPr/>
            <p:nvPr/>
          </p:nvSpPr>
          <p:spPr>
            <a:xfrm>
              <a:off x="6329920" y="6102851"/>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137" name="Freeform: Shape 136">
              <a:extLst>
                <a:ext uri="{FF2B5EF4-FFF2-40B4-BE49-F238E27FC236}">
                  <a16:creationId xmlns:a16="http://schemas.microsoft.com/office/drawing/2014/main" id="{F16154B4-DB7F-4FFF-9BD4-E1FB03CA7407}"/>
                </a:ext>
              </a:extLst>
            </p:cNvPr>
            <p:cNvSpPr/>
            <p:nvPr/>
          </p:nvSpPr>
          <p:spPr>
            <a:xfrm>
              <a:off x="6329790" y="6141115"/>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138" name="Freeform: Shape 137">
              <a:extLst>
                <a:ext uri="{FF2B5EF4-FFF2-40B4-BE49-F238E27FC236}">
                  <a16:creationId xmlns:a16="http://schemas.microsoft.com/office/drawing/2014/main" id="{6A5AAC20-292A-4CC2-99BE-A68587A6D5E1}"/>
                </a:ext>
              </a:extLst>
            </p:cNvPr>
            <p:cNvSpPr/>
            <p:nvPr/>
          </p:nvSpPr>
          <p:spPr>
            <a:xfrm>
              <a:off x="6367139" y="6179378"/>
              <a:ext cx="52238" cy="13059"/>
            </a:xfrm>
            <a:custGeom>
              <a:avLst/>
              <a:gdLst>
                <a:gd name="connsiteX0" fmla="*/ 0 w 38100"/>
                <a:gd name="connsiteY0" fmla="*/ 0 h 0"/>
                <a:gd name="connsiteX1" fmla="*/ 42958 w 38100"/>
                <a:gd name="connsiteY1" fmla="*/ 0 h 0"/>
              </a:gdLst>
              <a:ahLst/>
              <a:cxnLst>
                <a:cxn ang="0">
                  <a:pos x="connsiteX0" y="connsiteY0"/>
                </a:cxn>
                <a:cxn ang="0">
                  <a:pos x="connsiteX1" y="connsiteY1"/>
                </a:cxn>
              </a:cxnLst>
              <a:rect l="l" t="t" r="r" b="b"/>
              <a:pathLst>
                <a:path w="38100">
                  <a:moveTo>
                    <a:pt x="0" y="0"/>
                  </a:moveTo>
                  <a:lnTo>
                    <a:pt x="42958"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grpSp>
      <p:cxnSp>
        <p:nvCxnSpPr>
          <p:cNvPr id="140" name="Straight Connector 139">
            <a:extLst>
              <a:ext uri="{FF2B5EF4-FFF2-40B4-BE49-F238E27FC236}">
                <a16:creationId xmlns:a16="http://schemas.microsoft.com/office/drawing/2014/main" id="{7425658E-8321-4145-96A3-EA5156942F3B}"/>
              </a:ext>
              <a:ext uri="{C183D7F6-B498-43B3-948B-1728B52AA6E4}">
                <adec:decorative xmlns:adec="http://schemas.microsoft.com/office/drawing/2017/decorative" val="1"/>
              </a:ext>
            </a:extLst>
          </p:cNvPr>
          <p:cNvCxnSpPr>
            <a:cxnSpLocks/>
          </p:cNvCxnSpPr>
          <p:nvPr userDrawn="1"/>
        </p:nvCxnSpPr>
        <p:spPr>
          <a:xfrm>
            <a:off x="5408438"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D55B8996-E0B8-4C62-AE5F-DFB770548E15}"/>
              </a:ext>
              <a:ext uri="{C183D7F6-B498-43B3-948B-1728B52AA6E4}">
                <adec:decorative xmlns:adec="http://schemas.microsoft.com/office/drawing/2017/decorative" val="1"/>
              </a:ext>
            </a:extLst>
          </p:cNvPr>
          <p:cNvGrpSpPr/>
          <p:nvPr userDrawn="1"/>
        </p:nvGrpSpPr>
        <p:grpSpPr>
          <a:xfrm>
            <a:off x="5436203" y="5337357"/>
            <a:ext cx="419609" cy="415995"/>
            <a:chOff x="6443026" y="2417970"/>
            <a:chExt cx="440787" cy="436990"/>
          </a:xfrm>
        </p:grpSpPr>
        <p:sp>
          <p:nvSpPr>
            <p:cNvPr id="142" name="Freeform: Shape 141">
              <a:extLst>
                <a:ext uri="{FF2B5EF4-FFF2-40B4-BE49-F238E27FC236}">
                  <a16:creationId xmlns:a16="http://schemas.microsoft.com/office/drawing/2014/main" id="{46A29C76-FB4E-4492-A39E-34FCCFFCCA7B}"/>
                </a:ext>
              </a:extLst>
            </p:cNvPr>
            <p:cNvSpPr/>
            <p:nvPr/>
          </p:nvSpPr>
          <p:spPr>
            <a:xfrm>
              <a:off x="6443026" y="2417970"/>
              <a:ext cx="65476" cy="65476"/>
            </a:xfrm>
            <a:custGeom>
              <a:avLst/>
              <a:gdLst>
                <a:gd name="connsiteX0" fmla="*/ 0 w 65476"/>
                <a:gd name="connsiteY0" fmla="*/ 70715 h 65476"/>
                <a:gd name="connsiteX1" fmla="*/ 0 w 65476"/>
                <a:gd name="connsiteY1" fmla="*/ 0 h 65476"/>
                <a:gd name="connsiteX2" fmla="*/ 68226 w 65476"/>
                <a:gd name="connsiteY2" fmla="*/ 0 h 65476"/>
              </a:gdLst>
              <a:ahLst/>
              <a:cxnLst>
                <a:cxn ang="0">
                  <a:pos x="connsiteX0" y="connsiteY0"/>
                </a:cxn>
                <a:cxn ang="0">
                  <a:pos x="connsiteX1" y="connsiteY1"/>
                </a:cxn>
                <a:cxn ang="0">
                  <a:pos x="connsiteX2" y="connsiteY2"/>
                </a:cxn>
              </a:cxnLst>
              <a:rect l="l" t="t" r="r" b="b"/>
              <a:pathLst>
                <a:path w="65476" h="65476">
                  <a:moveTo>
                    <a:pt x="0" y="70715"/>
                  </a:moveTo>
                  <a:lnTo>
                    <a:pt x="0" y="0"/>
                  </a:lnTo>
                  <a:lnTo>
                    <a:pt x="68226"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3" name="Freeform: Shape 142">
              <a:extLst>
                <a:ext uri="{FF2B5EF4-FFF2-40B4-BE49-F238E27FC236}">
                  <a16:creationId xmlns:a16="http://schemas.microsoft.com/office/drawing/2014/main" id="{19A1706B-B7D2-4C04-B0E8-6285AC5C83DB}"/>
                </a:ext>
              </a:extLst>
            </p:cNvPr>
            <p:cNvSpPr/>
            <p:nvPr/>
          </p:nvSpPr>
          <p:spPr>
            <a:xfrm>
              <a:off x="6815849" y="2417970"/>
              <a:ext cx="65476" cy="65476"/>
            </a:xfrm>
            <a:custGeom>
              <a:avLst/>
              <a:gdLst>
                <a:gd name="connsiteX0" fmla="*/ 0 w 65476"/>
                <a:gd name="connsiteY0" fmla="*/ 0 h 65476"/>
                <a:gd name="connsiteX1" fmla="*/ 70846 w 65476"/>
                <a:gd name="connsiteY1" fmla="*/ 0 h 65476"/>
                <a:gd name="connsiteX2" fmla="*/ 70846 w 65476"/>
                <a:gd name="connsiteY2" fmla="*/ 68226 h 65476"/>
              </a:gdLst>
              <a:ahLst/>
              <a:cxnLst>
                <a:cxn ang="0">
                  <a:pos x="connsiteX0" y="connsiteY0"/>
                </a:cxn>
                <a:cxn ang="0">
                  <a:pos x="connsiteX1" y="connsiteY1"/>
                </a:cxn>
                <a:cxn ang="0">
                  <a:pos x="connsiteX2" y="connsiteY2"/>
                </a:cxn>
              </a:cxnLst>
              <a:rect l="l" t="t" r="r" b="b"/>
              <a:pathLst>
                <a:path w="65476" h="65476">
                  <a:moveTo>
                    <a:pt x="0" y="0"/>
                  </a:moveTo>
                  <a:lnTo>
                    <a:pt x="70846" y="0"/>
                  </a:lnTo>
                  <a:lnTo>
                    <a:pt x="70846" y="68226"/>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4" name="Freeform: Shape 143">
              <a:extLst>
                <a:ext uri="{FF2B5EF4-FFF2-40B4-BE49-F238E27FC236}">
                  <a16:creationId xmlns:a16="http://schemas.microsoft.com/office/drawing/2014/main" id="{A066030C-B5BE-4669-9376-08175DF9BE4E}"/>
                </a:ext>
              </a:extLst>
            </p:cNvPr>
            <p:cNvSpPr/>
            <p:nvPr/>
          </p:nvSpPr>
          <p:spPr>
            <a:xfrm>
              <a:off x="6818337" y="2786996"/>
              <a:ext cx="65476" cy="65476"/>
            </a:xfrm>
            <a:custGeom>
              <a:avLst/>
              <a:gdLst>
                <a:gd name="connsiteX0" fmla="*/ 68357 w 65476"/>
                <a:gd name="connsiteY0" fmla="*/ 0 h 65476"/>
                <a:gd name="connsiteX1" fmla="*/ 68357 w 65476"/>
                <a:gd name="connsiteY1" fmla="*/ 70715 h 65476"/>
                <a:gd name="connsiteX2" fmla="*/ 0 w 65476"/>
                <a:gd name="connsiteY2" fmla="*/ 70715 h 65476"/>
              </a:gdLst>
              <a:ahLst/>
              <a:cxnLst>
                <a:cxn ang="0">
                  <a:pos x="connsiteX0" y="connsiteY0"/>
                </a:cxn>
                <a:cxn ang="0">
                  <a:pos x="connsiteX1" y="connsiteY1"/>
                </a:cxn>
                <a:cxn ang="0">
                  <a:pos x="connsiteX2" y="connsiteY2"/>
                </a:cxn>
              </a:cxnLst>
              <a:rect l="l" t="t" r="r" b="b"/>
              <a:pathLst>
                <a:path w="65476" h="65476">
                  <a:moveTo>
                    <a:pt x="68357" y="0"/>
                  </a:moveTo>
                  <a:lnTo>
                    <a:pt x="68357" y="70715"/>
                  </a:lnTo>
                  <a:lnTo>
                    <a:pt x="0" y="70715"/>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5" name="Freeform: Shape 144">
              <a:extLst>
                <a:ext uri="{FF2B5EF4-FFF2-40B4-BE49-F238E27FC236}">
                  <a16:creationId xmlns:a16="http://schemas.microsoft.com/office/drawing/2014/main" id="{F9F704FF-F519-4224-8B0F-4EB032D15DE7}"/>
                </a:ext>
              </a:extLst>
            </p:cNvPr>
            <p:cNvSpPr/>
            <p:nvPr/>
          </p:nvSpPr>
          <p:spPr>
            <a:xfrm>
              <a:off x="6443026" y="2789484"/>
              <a:ext cx="65476" cy="65476"/>
            </a:xfrm>
            <a:custGeom>
              <a:avLst/>
              <a:gdLst>
                <a:gd name="connsiteX0" fmla="*/ 70846 w 65476"/>
                <a:gd name="connsiteY0" fmla="*/ 68226 h 65476"/>
                <a:gd name="connsiteX1" fmla="*/ 0 w 65476"/>
                <a:gd name="connsiteY1" fmla="*/ 68226 h 65476"/>
                <a:gd name="connsiteX2" fmla="*/ 0 w 65476"/>
                <a:gd name="connsiteY2" fmla="*/ 0 h 65476"/>
              </a:gdLst>
              <a:ahLst/>
              <a:cxnLst>
                <a:cxn ang="0">
                  <a:pos x="connsiteX0" y="connsiteY0"/>
                </a:cxn>
                <a:cxn ang="0">
                  <a:pos x="connsiteX1" y="connsiteY1"/>
                </a:cxn>
                <a:cxn ang="0">
                  <a:pos x="connsiteX2" y="connsiteY2"/>
                </a:cxn>
              </a:cxnLst>
              <a:rect l="l" t="t" r="r" b="b"/>
              <a:pathLst>
                <a:path w="65476" h="65476">
                  <a:moveTo>
                    <a:pt x="70846" y="68226"/>
                  </a:moveTo>
                  <a:lnTo>
                    <a:pt x="0" y="68226"/>
                  </a:lnTo>
                  <a:lnTo>
                    <a:pt x="0"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6" name="Freeform: Shape 145">
              <a:extLst>
                <a:ext uri="{FF2B5EF4-FFF2-40B4-BE49-F238E27FC236}">
                  <a16:creationId xmlns:a16="http://schemas.microsoft.com/office/drawing/2014/main" id="{58217CFB-C212-463F-8E90-581B1C75BD4E}"/>
                </a:ext>
              </a:extLst>
            </p:cNvPr>
            <p:cNvSpPr/>
            <p:nvPr/>
          </p:nvSpPr>
          <p:spPr>
            <a:xfrm>
              <a:off x="6554205" y="2635352"/>
              <a:ext cx="209525" cy="13095"/>
            </a:xfrm>
            <a:custGeom>
              <a:avLst/>
              <a:gdLst>
                <a:gd name="connsiteX0" fmla="*/ 0 w 209524"/>
                <a:gd name="connsiteY0" fmla="*/ 0 h 0"/>
                <a:gd name="connsiteX1" fmla="*/ 222489 w 209524"/>
                <a:gd name="connsiteY1" fmla="*/ 0 h 0"/>
              </a:gdLst>
              <a:ahLst/>
              <a:cxnLst>
                <a:cxn ang="0">
                  <a:pos x="connsiteX0" y="connsiteY0"/>
                </a:cxn>
                <a:cxn ang="0">
                  <a:pos x="connsiteX1" y="connsiteY1"/>
                </a:cxn>
              </a:cxnLst>
              <a:rect l="l" t="t" r="r" b="b"/>
              <a:pathLst>
                <a:path w="209524">
                  <a:moveTo>
                    <a:pt x="0" y="0"/>
                  </a:moveTo>
                  <a:lnTo>
                    <a:pt x="222489"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sp>
          <p:nvSpPr>
            <p:cNvPr id="147" name="Freeform: Shape 146">
              <a:extLst>
                <a:ext uri="{FF2B5EF4-FFF2-40B4-BE49-F238E27FC236}">
                  <a16:creationId xmlns:a16="http://schemas.microsoft.com/office/drawing/2014/main" id="{AB0C0BCA-628D-4526-BE39-0D6F89A9DC5A}"/>
                </a:ext>
              </a:extLst>
            </p:cNvPr>
            <p:cNvSpPr/>
            <p:nvPr/>
          </p:nvSpPr>
          <p:spPr>
            <a:xfrm>
              <a:off x="6665515" y="2524173"/>
              <a:ext cx="13095" cy="209525"/>
            </a:xfrm>
            <a:custGeom>
              <a:avLst/>
              <a:gdLst>
                <a:gd name="connsiteX0" fmla="*/ 0 w 0"/>
                <a:gd name="connsiteY0" fmla="*/ 222358 h 209524"/>
                <a:gd name="connsiteX1" fmla="*/ 0 w 0"/>
                <a:gd name="connsiteY1" fmla="*/ 0 h 209524"/>
              </a:gdLst>
              <a:ahLst/>
              <a:cxnLst>
                <a:cxn ang="0">
                  <a:pos x="connsiteX0" y="connsiteY0"/>
                </a:cxn>
                <a:cxn ang="0">
                  <a:pos x="connsiteX1" y="connsiteY1"/>
                </a:cxn>
              </a:cxnLst>
              <a:rect l="l" t="t" r="r" b="b"/>
              <a:pathLst>
                <a:path h="209524">
                  <a:moveTo>
                    <a:pt x="0" y="222358"/>
                  </a:moveTo>
                  <a:lnTo>
                    <a:pt x="0"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grpSp>
      <p:cxnSp>
        <p:nvCxnSpPr>
          <p:cNvPr id="149" name="Straight Connector 148">
            <a:extLst>
              <a:ext uri="{FF2B5EF4-FFF2-40B4-BE49-F238E27FC236}">
                <a16:creationId xmlns:a16="http://schemas.microsoft.com/office/drawing/2014/main" id="{BFE3E24F-D539-4871-8DAA-E6AD97C0D678}"/>
              </a:ext>
              <a:ext uri="{C183D7F6-B498-43B3-948B-1728B52AA6E4}">
                <adec:decorative xmlns:adec="http://schemas.microsoft.com/office/drawing/2017/decorative" val="1"/>
              </a:ext>
            </a:extLst>
          </p:cNvPr>
          <p:cNvCxnSpPr>
            <a:cxnSpLocks/>
          </p:cNvCxnSpPr>
          <p:nvPr userDrawn="1"/>
        </p:nvCxnSpPr>
        <p:spPr>
          <a:xfrm>
            <a:off x="783313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0" name="Freeform: Shape 149">
            <a:extLst>
              <a:ext uri="{FF2B5EF4-FFF2-40B4-BE49-F238E27FC236}">
                <a16:creationId xmlns:a16="http://schemas.microsoft.com/office/drawing/2014/main" id="{3E9D8417-83B7-4F1F-8562-61890D5905B8}"/>
              </a:ext>
              <a:ext uri="{C183D7F6-B498-43B3-948B-1728B52AA6E4}">
                <adec:decorative xmlns:adec="http://schemas.microsoft.com/office/drawing/2017/decorative" val="1"/>
              </a:ext>
            </a:extLst>
          </p:cNvPr>
          <p:cNvSpPr/>
          <p:nvPr userDrawn="1"/>
        </p:nvSpPr>
        <p:spPr>
          <a:xfrm>
            <a:off x="7840711" y="5367961"/>
            <a:ext cx="459983" cy="385391"/>
          </a:xfrm>
          <a:custGeom>
            <a:avLst/>
            <a:gdLst>
              <a:gd name="connsiteX0" fmla="*/ 348104 w 352425"/>
              <a:gd name="connsiteY0" fmla="*/ 128975 h 295275"/>
              <a:gd name="connsiteX1" fmla="*/ 178844 w 352425"/>
              <a:gd name="connsiteY1" fmla="*/ 295472 h 295275"/>
              <a:gd name="connsiteX2" fmla="*/ 9680 w 352425"/>
              <a:gd name="connsiteY2" fmla="*/ 128975 h 295275"/>
              <a:gd name="connsiteX3" fmla="*/ 56924 w 352425"/>
              <a:gd name="connsiteY3" fmla="*/ 7817 h 295275"/>
              <a:gd name="connsiteX4" fmla="*/ 178082 w 352425"/>
              <a:gd name="connsiteY4" fmla="*/ 55061 h 295275"/>
              <a:gd name="connsiteX5" fmla="*/ 179606 w 352425"/>
              <a:gd name="connsiteY5" fmla="*/ 55061 h 295275"/>
              <a:gd name="connsiteX6" fmla="*/ 300860 w 352425"/>
              <a:gd name="connsiteY6" fmla="*/ 7817 h 295275"/>
              <a:gd name="connsiteX7" fmla="*/ 348104 w 352425"/>
              <a:gd name="connsiteY7" fmla="*/ 1289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295275">
                <a:moveTo>
                  <a:pt x="348104" y="128975"/>
                </a:moveTo>
                <a:cubicBezTo>
                  <a:pt x="298478" y="219462"/>
                  <a:pt x="178844" y="295472"/>
                  <a:pt x="178844" y="295472"/>
                </a:cubicBezTo>
                <a:cubicBezTo>
                  <a:pt x="178844" y="295472"/>
                  <a:pt x="60734" y="219843"/>
                  <a:pt x="9680" y="128975"/>
                </a:cubicBezTo>
                <a:cubicBezTo>
                  <a:pt x="-15180" y="84779"/>
                  <a:pt x="10442" y="28200"/>
                  <a:pt x="56924" y="7817"/>
                </a:cubicBezTo>
                <a:cubicBezTo>
                  <a:pt x="103502" y="-12567"/>
                  <a:pt x="157699" y="8579"/>
                  <a:pt x="178082" y="55061"/>
                </a:cubicBezTo>
                <a:cubicBezTo>
                  <a:pt x="178368" y="55632"/>
                  <a:pt x="179321" y="55632"/>
                  <a:pt x="179606" y="55061"/>
                </a:cubicBezTo>
                <a:cubicBezTo>
                  <a:pt x="199990" y="8484"/>
                  <a:pt x="254282" y="-12662"/>
                  <a:pt x="300860" y="7817"/>
                </a:cubicBezTo>
                <a:cubicBezTo>
                  <a:pt x="347342" y="28200"/>
                  <a:pt x="372488" y="84493"/>
                  <a:pt x="348104" y="128975"/>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cxnSp>
        <p:nvCxnSpPr>
          <p:cNvPr id="152" name="Straight Connector 151">
            <a:extLst>
              <a:ext uri="{FF2B5EF4-FFF2-40B4-BE49-F238E27FC236}">
                <a16:creationId xmlns:a16="http://schemas.microsoft.com/office/drawing/2014/main" id="{8575DB60-28A7-4D6D-BEDF-7904E347891B}"/>
              </a:ext>
              <a:ext uri="{C183D7F6-B498-43B3-948B-1728B52AA6E4}">
                <adec:decorative xmlns:adec="http://schemas.microsoft.com/office/drawing/2017/decorative" val="1"/>
              </a:ext>
            </a:extLst>
          </p:cNvPr>
          <p:cNvCxnSpPr>
            <a:cxnSpLocks/>
          </p:cNvCxnSpPr>
          <p:nvPr userDrawn="1"/>
        </p:nvCxnSpPr>
        <p:spPr>
          <a:xfrm>
            <a:off x="10257827"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3" name="Group 152">
            <a:extLst>
              <a:ext uri="{FF2B5EF4-FFF2-40B4-BE49-F238E27FC236}">
                <a16:creationId xmlns:a16="http://schemas.microsoft.com/office/drawing/2014/main" id="{EA0D26CA-3BAE-45DA-AB03-84069EE571D0}"/>
              </a:ext>
              <a:ext uri="{C183D7F6-B498-43B3-948B-1728B52AA6E4}">
                <adec:decorative xmlns:adec="http://schemas.microsoft.com/office/drawing/2017/decorative" val="1"/>
              </a:ext>
            </a:extLst>
          </p:cNvPr>
          <p:cNvGrpSpPr/>
          <p:nvPr userDrawn="1"/>
        </p:nvGrpSpPr>
        <p:grpSpPr>
          <a:xfrm>
            <a:off x="10277836" y="5369827"/>
            <a:ext cx="435119" cy="383525"/>
            <a:chOff x="5055450" y="4606241"/>
            <a:chExt cx="457080" cy="402882"/>
          </a:xfrm>
        </p:grpSpPr>
        <p:sp>
          <p:nvSpPr>
            <p:cNvPr id="154" name="Freeform: Shape 153">
              <a:extLst>
                <a:ext uri="{FF2B5EF4-FFF2-40B4-BE49-F238E27FC236}">
                  <a16:creationId xmlns:a16="http://schemas.microsoft.com/office/drawing/2014/main" id="{30DCA5FA-A661-41DD-ABDD-D030DEE1A37B}"/>
                </a:ext>
              </a:extLst>
            </p:cNvPr>
            <p:cNvSpPr/>
            <p:nvPr/>
          </p:nvSpPr>
          <p:spPr>
            <a:xfrm>
              <a:off x="5055450" y="4606241"/>
              <a:ext cx="457080" cy="222010"/>
            </a:xfrm>
            <a:custGeom>
              <a:avLst/>
              <a:gdLst>
                <a:gd name="connsiteX0" fmla="*/ 0 w 333375"/>
                <a:gd name="connsiteY0" fmla="*/ 166973 h 161925"/>
                <a:gd name="connsiteX1" fmla="*/ 166973 w 333375"/>
                <a:gd name="connsiteY1" fmla="*/ 0 h 161925"/>
                <a:gd name="connsiteX2" fmla="*/ 334042 w 333375"/>
                <a:gd name="connsiteY2" fmla="*/ 166973 h 161925"/>
              </a:gdLst>
              <a:ahLst/>
              <a:cxnLst>
                <a:cxn ang="0">
                  <a:pos x="connsiteX0" y="connsiteY0"/>
                </a:cxn>
                <a:cxn ang="0">
                  <a:pos x="connsiteX1" y="connsiteY1"/>
                </a:cxn>
                <a:cxn ang="0">
                  <a:pos x="connsiteX2" y="connsiteY2"/>
                </a:cxn>
              </a:cxnLst>
              <a:rect l="l" t="t" r="r" b="b"/>
              <a:pathLst>
                <a:path w="333375" h="161925">
                  <a:moveTo>
                    <a:pt x="0" y="166973"/>
                  </a:moveTo>
                  <a:lnTo>
                    <a:pt x="166973" y="0"/>
                  </a:lnTo>
                  <a:lnTo>
                    <a:pt x="334042" y="166973"/>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55" name="Freeform: Shape 154">
              <a:extLst>
                <a:ext uri="{FF2B5EF4-FFF2-40B4-BE49-F238E27FC236}">
                  <a16:creationId xmlns:a16="http://schemas.microsoft.com/office/drawing/2014/main" id="{13C8752F-66B7-4CCD-B120-21632D62481D}"/>
                </a:ext>
              </a:extLst>
            </p:cNvPr>
            <p:cNvSpPr/>
            <p:nvPr/>
          </p:nvSpPr>
          <p:spPr>
            <a:xfrm>
              <a:off x="5055450" y="4696612"/>
              <a:ext cx="457080" cy="222010"/>
            </a:xfrm>
            <a:custGeom>
              <a:avLst/>
              <a:gdLst>
                <a:gd name="connsiteX0" fmla="*/ 0 w 333375"/>
                <a:gd name="connsiteY0" fmla="*/ 167069 h 161925"/>
                <a:gd name="connsiteX1" fmla="*/ 166973 w 333375"/>
                <a:gd name="connsiteY1" fmla="*/ 0 h 161925"/>
                <a:gd name="connsiteX2" fmla="*/ 334042 w 333375"/>
                <a:gd name="connsiteY2" fmla="*/ 167069 h 161925"/>
              </a:gdLst>
              <a:ahLst/>
              <a:cxnLst>
                <a:cxn ang="0">
                  <a:pos x="connsiteX0" y="connsiteY0"/>
                </a:cxn>
                <a:cxn ang="0">
                  <a:pos x="connsiteX1" y="connsiteY1"/>
                </a:cxn>
                <a:cxn ang="0">
                  <a:pos x="connsiteX2" y="connsiteY2"/>
                </a:cxn>
              </a:cxnLst>
              <a:rect l="l" t="t" r="r" b="b"/>
              <a:pathLst>
                <a:path w="333375" h="161925">
                  <a:moveTo>
                    <a:pt x="0" y="167069"/>
                  </a:moveTo>
                  <a:lnTo>
                    <a:pt x="166973" y="0"/>
                  </a:lnTo>
                  <a:lnTo>
                    <a:pt x="334042" y="167069"/>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56" name="Freeform: Shape 155">
              <a:extLst>
                <a:ext uri="{FF2B5EF4-FFF2-40B4-BE49-F238E27FC236}">
                  <a16:creationId xmlns:a16="http://schemas.microsoft.com/office/drawing/2014/main" id="{9B482BE3-F5CE-428E-BAD5-22D10DE77E64}"/>
                </a:ext>
              </a:extLst>
            </p:cNvPr>
            <p:cNvSpPr/>
            <p:nvPr/>
          </p:nvSpPr>
          <p:spPr>
            <a:xfrm>
              <a:off x="5055450" y="4787113"/>
              <a:ext cx="457080" cy="222010"/>
            </a:xfrm>
            <a:custGeom>
              <a:avLst/>
              <a:gdLst>
                <a:gd name="connsiteX0" fmla="*/ 0 w 333375"/>
                <a:gd name="connsiteY0" fmla="*/ 167068 h 161925"/>
                <a:gd name="connsiteX1" fmla="*/ 166973 w 333375"/>
                <a:gd name="connsiteY1" fmla="*/ 0 h 161925"/>
                <a:gd name="connsiteX2" fmla="*/ 334042 w 333375"/>
                <a:gd name="connsiteY2" fmla="*/ 167068 h 161925"/>
              </a:gdLst>
              <a:ahLst/>
              <a:cxnLst>
                <a:cxn ang="0">
                  <a:pos x="connsiteX0" y="connsiteY0"/>
                </a:cxn>
                <a:cxn ang="0">
                  <a:pos x="connsiteX1" y="connsiteY1"/>
                </a:cxn>
                <a:cxn ang="0">
                  <a:pos x="connsiteX2" y="connsiteY2"/>
                </a:cxn>
              </a:cxnLst>
              <a:rect l="l" t="t" r="r" b="b"/>
              <a:pathLst>
                <a:path w="333375" h="161925">
                  <a:moveTo>
                    <a:pt x="0" y="167068"/>
                  </a:moveTo>
                  <a:lnTo>
                    <a:pt x="166973" y="0"/>
                  </a:lnTo>
                  <a:lnTo>
                    <a:pt x="334042" y="167068"/>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grpSp>
      <p:cxnSp>
        <p:nvCxnSpPr>
          <p:cNvPr id="159" name="Straight Connector 158">
            <a:extLst>
              <a:ext uri="{FF2B5EF4-FFF2-40B4-BE49-F238E27FC236}">
                <a16:creationId xmlns:a16="http://schemas.microsoft.com/office/drawing/2014/main" id="{578067FD-8B7B-4C52-8C24-21C89C688101}"/>
              </a:ext>
              <a:ext uri="{C183D7F6-B498-43B3-948B-1728B52AA6E4}">
                <adec:decorative xmlns:adec="http://schemas.microsoft.com/office/drawing/2017/decorative" val="1"/>
              </a:ext>
            </a:extLst>
          </p:cNvPr>
          <p:cNvCxnSpPr>
            <a:cxnSpLocks/>
          </p:cNvCxnSpPr>
          <p:nvPr userDrawn="1"/>
        </p:nvCxnSpPr>
        <p:spPr>
          <a:xfrm>
            <a:off x="542647" y="2556620"/>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B2A7384-850E-44F0-95D0-C3467779B119}"/>
              </a:ext>
              <a:ext uri="{C183D7F6-B498-43B3-948B-1728B52AA6E4}">
                <adec:decorative xmlns:adec="http://schemas.microsoft.com/office/drawing/2017/decorative" val="1"/>
              </a:ext>
            </a:extLst>
          </p:cNvPr>
          <p:cNvCxnSpPr>
            <a:cxnSpLocks/>
          </p:cNvCxnSpPr>
          <p:nvPr userDrawn="1"/>
        </p:nvCxnSpPr>
        <p:spPr>
          <a:xfrm>
            <a:off x="542647" y="3236898"/>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A4F02A0B-7178-4DB0-A311-EBD263FAACE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226" name="TextBox 225">
            <a:extLst>
              <a:ext uri="{FF2B5EF4-FFF2-40B4-BE49-F238E27FC236}">
                <a16:creationId xmlns:a16="http://schemas.microsoft.com/office/drawing/2014/main" id="{2CDEF80D-16AE-4621-B914-5D2BA327DE2A}"/>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227" name="Title 3">
            <a:extLst>
              <a:ext uri="{FF2B5EF4-FFF2-40B4-BE49-F238E27FC236}">
                <a16:creationId xmlns:a16="http://schemas.microsoft.com/office/drawing/2014/main" id="{B67BC9FD-E999-4F55-A2A8-B400B3CC6A76}"/>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lvl="0"/>
            <a:r>
              <a:rPr lang="en-US" cap="none" baseline="0" dirty="0"/>
              <a:t>Who we are</a:t>
            </a:r>
          </a:p>
        </p:txBody>
      </p:sp>
      <p:sp>
        <p:nvSpPr>
          <p:cNvPr id="82" name="Title 3">
            <a:extLst>
              <a:ext uri="{FF2B5EF4-FFF2-40B4-BE49-F238E27FC236}">
                <a16:creationId xmlns:a16="http://schemas.microsoft.com/office/drawing/2014/main" id="{A651038C-E179-4A53-8054-D7646C354CC9}"/>
              </a:ext>
            </a:extLst>
          </p:cNvPr>
          <p:cNvSpPr txBox="1">
            <a:spLocks/>
          </p:cNvSpPr>
          <p:nvPr userDrawn="1"/>
        </p:nvSpPr>
        <p:spPr>
          <a:xfrm>
            <a:off x="559048" y="1355053"/>
            <a:ext cx="3207561" cy="36230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cap="none" baseline="0" dirty="0">
                <a:solidFill>
                  <a:schemeClr val="tx1"/>
                </a:solidFill>
                <a:ea typeface="Verdana" panose="020B0604030504040204" pitchFamily="34" charset="0"/>
                <a:cs typeface="Calibri" panose="020F0502020204030204" pitchFamily="34" charset="0"/>
              </a:rPr>
              <a:t>Innovators</a:t>
            </a:r>
          </a:p>
        </p:txBody>
      </p:sp>
      <p:sp>
        <p:nvSpPr>
          <p:cNvPr id="81" name="Content Placeholder 7">
            <a:extLst>
              <a:ext uri="{FF2B5EF4-FFF2-40B4-BE49-F238E27FC236}">
                <a16:creationId xmlns:a16="http://schemas.microsoft.com/office/drawing/2014/main" id="{9CD02D89-7226-4780-9153-63C357BAA8DD}"/>
              </a:ext>
              <a:ext uri="{C183D7F6-B498-43B3-948B-1728B52AA6E4}">
                <adec:decorative xmlns:adec="http://schemas.microsoft.com/office/drawing/2017/decorative" val="0"/>
              </a:ext>
            </a:extLst>
          </p:cNvPr>
          <p:cNvSpPr txBox="1">
            <a:spLocks/>
          </p:cNvSpPr>
          <p:nvPr userDrawn="1"/>
        </p:nvSpPr>
        <p:spPr>
          <a:xfrm>
            <a:off x="3899574" y="1284408"/>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are innovators who combine a disruptive, design-thinking approach with unrivalled, first-hand industry knowledge and technology acumen.</a:t>
            </a:r>
          </a:p>
        </p:txBody>
      </p:sp>
      <p:sp>
        <p:nvSpPr>
          <p:cNvPr id="160" name="Title 3">
            <a:extLst>
              <a:ext uri="{FF2B5EF4-FFF2-40B4-BE49-F238E27FC236}">
                <a16:creationId xmlns:a16="http://schemas.microsoft.com/office/drawing/2014/main" id="{145D900B-47F3-4FD1-95BD-D3BC42342CAC}"/>
              </a:ext>
            </a:extLst>
          </p:cNvPr>
          <p:cNvSpPr txBox="1">
            <a:spLocks/>
          </p:cNvSpPr>
          <p:nvPr userDrawn="1"/>
        </p:nvSpPr>
        <p:spPr>
          <a:xfrm>
            <a:off x="559048" y="2051852"/>
            <a:ext cx="3207561" cy="329259"/>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cap="none" baseline="0" dirty="0">
                <a:solidFill>
                  <a:schemeClr val="accent1"/>
                </a:solidFill>
                <a:ea typeface="Verdana" panose="020B0604030504040204" pitchFamily="34" charset="0"/>
                <a:cs typeface="Calibri" panose="020F0502020204030204" pitchFamily="34" charset="0"/>
              </a:rPr>
              <a:t>Facilitators</a:t>
            </a:r>
          </a:p>
        </p:txBody>
      </p:sp>
      <p:sp>
        <p:nvSpPr>
          <p:cNvPr id="158" name="Content Placeholder 7">
            <a:extLst>
              <a:ext uri="{FF2B5EF4-FFF2-40B4-BE49-F238E27FC236}">
                <a16:creationId xmlns:a16="http://schemas.microsoft.com/office/drawing/2014/main" id="{68352AD7-A25E-4007-8FE9-5C0C12FA744F}"/>
              </a:ext>
            </a:extLst>
          </p:cNvPr>
          <p:cNvSpPr txBox="1">
            <a:spLocks/>
          </p:cNvSpPr>
          <p:nvPr userDrawn="1"/>
        </p:nvSpPr>
        <p:spPr>
          <a:xfrm>
            <a:off x="3899573" y="1964686"/>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facilitate the handshake between the business and technology organizations to deliver end-to-end consulting services and solutions.</a:t>
            </a:r>
          </a:p>
        </p:txBody>
      </p:sp>
      <p:sp>
        <p:nvSpPr>
          <p:cNvPr id="165" name="Title 3">
            <a:extLst>
              <a:ext uri="{FF2B5EF4-FFF2-40B4-BE49-F238E27FC236}">
                <a16:creationId xmlns:a16="http://schemas.microsoft.com/office/drawing/2014/main" id="{1911AEE9-713A-47B8-8991-FEABA9510A95}"/>
              </a:ext>
            </a:extLst>
          </p:cNvPr>
          <p:cNvSpPr txBox="1">
            <a:spLocks/>
          </p:cNvSpPr>
          <p:nvPr userDrawn="1"/>
        </p:nvSpPr>
        <p:spPr>
          <a:xfrm>
            <a:off x="559048" y="2717034"/>
            <a:ext cx="3207561" cy="35945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cap="none" baseline="0" dirty="0">
                <a:solidFill>
                  <a:schemeClr val="tx1"/>
                </a:solidFill>
                <a:ea typeface="Verdana" panose="020B0604030504040204" pitchFamily="34" charset="0"/>
                <a:cs typeface="Calibri" panose="020F0502020204030204" pitchFamily="34" charset="0"/>
              </a:rPr>
              <a:t>Change Ambassadors</a:t>
            </a:r>
          </a:p>
        </p:txBody>
      </p:sp>
      <p:sp>
        <p:nvSpPr>
          <p:cNvPr id="180" name="Content Placeholder 7">
            <a:extLst>
              <a:ext uri="{FF2B5EF4-FFF2-40B4-BE49-F238E27FC236}">
                <a16:creationId xmlns:a16="http://schemas.microsoft.com/office/drawing/2014/main" id="{88DC1AAC-C50C-4A70-AB67-8CD36D10C6A6}"/>
              </a:ext>
            </a:extLst>
          </p:cNvPr>
          <p:cNvSpPr txBox="1">
            <a:spLocks/>
          </p:cNvSpPr>
          <p:nvPr userDrawn="1"/>
        </p:nvSpPr>
        <p:spPr>
          <a:xfrm>
            <a:off x="3899573" y="2644964"/>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embrace new ways of working, and have a desire to work with our clients to pivot their capabilities and culture.</a:t>
            </a:r>
          </a:p>
        </p:txBody>
      </p:sp>
      <p:sp>
        <p:nvSpPr>
          <p:cNvPr id="190" name="Title 3">
            <a:extLst>
              <a:ext uri="{FF2B5EF4-FFF2-40B4-BE49-F238E27FC236}">
                <a16:creationId xmlns:a16="http://schemas.microsoft.com/office/drawing/2014/main" id="{BB81B18A-43C1-4460-97A1-3A962395B21A}"/>
              </a:ext>
            </a:extLst>
          </p:cNvPr>
          <p:cNvSpPr txBox="1">
            <a:spLocks/>
          </p:cNvSpPr>
          <p:nvPr userDrawn="1"/>
        </p:nvSpPr>
        <p:spPr>
          <a:xfrm>
            <a:off x="559048" y="3396530"/>
            <a:ext cx="3223962" cy="361017"/>
          </a:xfrm>
          <a:prstGeom prst="rect">
            <a:avLst/>
          </a:prstGeom>
        </p:spPr>
        <p:txBody>
          <a:bodyPr wrap="square"/>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cap="none" baseline="0" dirty="0">
                <a:solidFill>
                  <a:schemeClr val="accent1"/>
                </a:solidFill>
                <a:ea typeface="Verdana" panose="020B0604030504040204" pitchFamily="34" charset="0"/>
                <a:cs typeface="Calibri" panose="020F0502020204030204" pitchFamily="34" charset="0"/>
              </a:rPr>
              <a:t>Transformation Specialists</a:t>
            </a:r>
          </a:p>
        </p:txBody>
      </p:sp>
      <p:sp>
        <p:nvSpPr>
          <p:cNvPr id="184" name="Content Placeholder 7">
            <a:extLst>
              <a:ext uri="{FF2B5EF4-FFF2-40B4-BE49-F238E27FC236}">
                <a16:creationId xmlns:a16="http://schemas.microsoft.com/office/drawing/2014/main" id="{80E23EB4-DE3D-472C-B3A8-2CE85CBCB69B}"/>
              </a:ext>
            </a:extLst>
          </p:cNvPr>
          <p:cNvSpPr txBox="1">
            <a:spLocks/>
          </p:cNvSpPr>
          <p:nvPr userDrawn="1"/>
        </p:nvSpPr>
        <p:spPr>
          <a:xfrm>
            <a:off x="3899573" y="3325243"/>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help our clients transform and advance their businesses, capitalize on digital opportunities, increase revenue, manage risk and regulatory change.</a:t>
            </a:r>
          </a:p>
        </p:txBody>
      </p:sp>
      <p:sp>
        <p:nvSpPr>
          <p:cNvPr id="80" name="Rectangle 79">
            <a:extLst>
              <a:ext uri="{FF2B5EF4-FFF2-40B4-BE49-F238E27FC236}">
                <a16:creationId xmlns:a16="http://schemas.microsoft.com/office/drawing/2014/main" id="{3445D70D-9499-4704-B0AE-FF93917F92F2}"/>
              </a:ext>
              <a:ext uri="{C183D7F6-B498-43B3-948B-1728B52AA6E4}">
                <adec:decorative xmlns:adec="http://schemas.microsoft.com/office/drawing/2017/decorative" val="1"/>
              </a:ext>
            </a:extLst>
          </p:cNvPr>
          <p:cNvSpPr/>
          <p:nvPr userDrawn="1"/>
        </p:nvSpPr>
        <p:spPr>
          <a:xfrm>
            <a:off x="0" y="4069721"/>
            <a:ext cx="12192000" cy="987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 name="Group 83" descr="founded in 1998">
            <a:extLst>
              <a:ext uri="{FF2B5EF4-FFF2-40B4-BE49-F238E27FC236}">
                <a16:creationId xmlns:a16="http://schemas.microsoft.com/office/drawing/2014/main" id="{08E9C0D1-1952-4AA2-8A63-39D7A7B9BF6D}"/>
              </a:ext>
            </a:extLst>
          </p:cNvPr>
          <p:cNvGrpSpPr/>
          <p:nvPr userDrawn="1"/>
        </p:nvGrpSpPr>
        <p:grpSpPr>
          <a:xfrm>
            <a:off x="631097" y="4096840"/>
            <a:ext cx="1284982" cy="847554"/>
            <a:chOff x="631098" y="3789723"/>
            <a:chExt cx="1284982" cy="847554"/>
          </a:xfrm>
        </p:grpSpPr>
        <p:sp>
          <p:nvSpPr>
            <p:cNvPr id="85" name="TextBox 84">
              <a:extLst>
                <a:ext uri="{FF2B5EF4-FFF2-40B4-BE49-F238E27FC236}">
                  <a16:creationId xmlns:a16="http://schemas.microsoft.com/office/drawing/2014/main" id="{2268AFC9-6EAD-475F-90FF-EAD4C15AA456}"/>
                </a:ext>
              </a:extLst>
            </p:cNvPr>
            <p:cNvSpPr txBox="1"/>
            <p:nvPr/>
          </p:nvSpPr>
          <p:spPr>
            <a:xfrm>
              <a:off x="631098" y="3789723"/>
              <a:ext cx="1284982" cy="677108"/>
            </a:xfrm>
            <a:prstGeom prst="rect">
              <a:avLst/>
            </a:prstGeom>
            <a:noFill/>
            <a:ln>
              <a:noFill/>
            </a:ln>
          </p:spPr>
          <p:txBody>
            <a:bodyPr wrap="square" lIns="0" tIns="0" rIns="0" bIns="0" rtlCol="0">
              <a:spAutoFit/>
            </a:bodyPr>
            <a:lstStyle/>
            <a:p>
              <a:pPr algn="l"/>
              <a:r>
                <a:rPr lang="en-US" sz="4400" b="1" i="0" dirty="0">
                  <a:solidFill>
                    <a:schemeClr val="bg1"/>
                  </a:solidFill>
                  <a:latin typeface="Century Gothic" panose="020B0502020202020204" pitchFamily="34" charset="0"/>
                </a:rPr>
                <a:t>1998</a:t>
              </a:r>
              <a:endParaRPr lang="en-GB" sz="4400" b="1" i="0" dirty="0">
                <a:solidFill>
                  <a:schemeClr val="bg1"/>
                </a:solidFill>
                <a:latin typeface="Century Gothic" panose="020B0502020202020204" pitchFamily="34" charset="0"/>
              </a:endParaRPr>
            </a:p>
          </p:txBody>
        </p:sp>
        <p:sp>
          <p:nvSpPr>
            <p:cNvPr id="86" name="TextBox 85">
              <a:extLst>
                <a:ext uri="{FF2B5EF4-FFF2-40B4-BE49-F238E27FC236}">
                  <a16:creationId xmlns:a16="http://schemas.microsoft.com/office/drawing/2014/main" id="{0F35FEE9-55B2-4061-8A3E-54563758BBAD}"/>
                </a:ext>
              </a:extLst>
            </p:cNvPr>
            <p:cNvSpPr txBox="1"/>
            <p:nvPr/>
          </p:nvSpPr>
          <p:spPr>
            <a:xfrm>
              <a:off x="722384" y="4360278"/>
              <a:ext cx="1126839" cy="276999"/>
            </a:xfrm>
            <a:prstGeom prst="rect">
              <a:avLst/>
            </a:prstGeom>
            <a:noFill/>
            <a:ln>
              <a:noFill/>
            </a:ln>
          </p:spPr>
          <p:txBody>
            <a:bodyPr wrap="square" lIns="0" tIns="0" rIns="0" bIns="0" rtlCol="0">
              <a:spAutoFit/>
            </a:bodyPr>
            <a:lstStyle/>
            <a:p>
              <a:pPr algn="l"/>
              <a:r>
                <a:rPr lang="sk-SK" i="0" dirty="0">
                  <a:solidFill>
                    <a:schemeClr val="bg1"/>
                  </a:solidFill>
                  <a:latin typeface="Century Gothic" panose="020B0502020202020204" pitchFamily="34" charset="0"/>
                </a:rPr>
                <a:t>FOUNDED</a:t>
              </a:r>
              <a:endParaRPr lang="en-GB" i="0" dirty="0">
                <a:solidFill>
                  <a:schemeClr val="bg1"/>
                </a:solidFill>
                <a:latin typeface="Century Gothic" panose="020B0502020202020204" pitchFamily="34" charset="0"/>
              </a:endParaRPr>
            </a:p>
          </p:txBody>
        </p:sp>
      </p:grpSp>
      <p:grpSp>
        <p:nvGrpSpPr>
          <p:cNvPr id="92" name="Group 91" descr="37 worldwide offices across 4 continents">
            <a:extLst>
              <a:ext uri="{FF2B5EF4-FFF2-40B4-BE49-F238E27FC236}">
                <a16:creationId xmlns:a16="http://schemas.microsoft.com/office/drawing/2014/main" id="{89787249-E01B-49C8-AD8A-AE508C570E0B}"/>
              </a:ext>
            </a:extLst>
          </p:cNvPr>
          <p:cNvGrpSpPr/>
          <p:nvPr userDrawn="1"/>
        </p:nvGrpSpPr>
        <p:grpSpPr>
          <a:xfrm>
            <a:off x="2393711" y="4183076"/>
            <a:ext cx="3048767" cy="738664"/>
            <a:chOff x="2419726" y="3853396"/>
            <a:chExt cx="3048767" cy="738664"/>
          </a:xfrm>
        </p:grpSpPr>
        <p:sp>
          <p:nvSpPr>
            <p:cNvPr id="93" name="TextBox 92">
              <a:extLst>
                <a:ext uri="{FF2B5EF4-FFF2-40B4-BE49-F238E27FC236}">
                  <a16:creationId xmlns:a16="http://schemas.microsoft.com/office/drawing/2014/main" id="{8C13A353-A80C-4CF3-9670-40F6373DAB48}"/>
                </a:ext>
              </a:extLst>
            </p:cNvPr>
            <p:cNvSpPr txBox="1"/>
            <p:nvPr/>
          </p:nvSpPr>
          <p:spPr>
            <a:xfrm>
              <a:off x="2419726" y="3853396"/>
              <a:ext cx="1095089" cy="738664"/>
            </a:xfrm>
            <a:prstGeom prst="rect">
              <a:avLst/>
            </a:prstGeom>
            <a:noFill/>
            <a:ln>
              <a:noFill/>
            </a:ln>
          </p:spPr>
          <p:txBody>
            <a:bodyPr wrap="square" lIns="0" tIns="0" rIns="0" bIns="0" rtlCol="0">
              <a:spAutoFit/>
            </a:bodyPr>
            <a:lstStyle/>
            <a:p>
              <a:pPr algn="l"/>
              <a:r>
                <a:rPr lang="en-US" sz="4800" b="1" dirty="0">
                  <a:solidFill>
                    <a:schemeClr val="bg1"/>
                  </a:solidFill>
                  <a:latin typeface="Century Gothic" panose="020B0502020202020204" pitchFamily="34" charset="0"/>
                </a:rPr>
                <a:t>37</a:t>
              </a:r>
              <a:endParaRPr lang="en-GB" sz="4400" b="1" dirty="0">
                <a:solidFill>
                  <a:schemeClr val="bg1"/>
                </a:solidFill>
                <a:latin typeface="Century Gothic" panose="020B0502020202020204" pitchFamily="34" charset="0"/>
              </a:endParaRPr>
            </a:p>
          </p:txBody>
        </p:sp>
        <p:sp>
          <p:nvSpPr>
            <p:cNvPr id="94" name="TextBox 93">
              <a:extLst>
                <a:ext uri="{FF2B5EF4-FFF2-40B4-BE49-F238E27FC236}">
                  <a16:creationId xmlns:a16="http://schemas.microsoft.com/office/drawing/2014/main" id="{18038903-CD59-4286-9135-CE4B163E7C94}"/>
                </a:ext>
              </a:extLst>
            </p:cNvPr>
            <p:cNvSpPr txBox="1"/>
            <p:nvPr/>
          </p:nvSpPr>
          <p:spPr>
            <a:xfrm>
              <a:off x="3148433" y="3957557"/>
              <a:ext cx="2320059" cy="276999"/>
            </a:xfrm>
            <a:prstGeom prst="rect">
              <a:avLst/>
            </a:prstGeom>
            <a:noFill/>
            <a:ln>
              <a:noFill/>
            </a:ln>
          </p:spPr>
          <p:txBody>
            <a:bodyPr wrap="square" lIns="0" tIns="0" rIns="0" bIns="0" rtlCol="0" anchor="ctr" anchorCtr="0">
              <a:spAutoFit/>
            </a:bodyPr>
            <a:lstStyle/>
            <a:p>
              <a:r>
                <a:rPr lang="sk-SK" b="1" dirty="0">
                  <a:solidFill>
                    <a:schemeClr val="bg1"/>
                  </a:solidFill>
                  <a:latin typeface="Century Gothic" panose="020B0502020202020204" pitchFamily="34" charset="0"/>
                </a:rPr>
                <a:t>WORLDWIDE OFFICES</a:t>
              </a:r>
            </a:p>
          </p:txBody>
        </p:sp>
        <p:sp>
          <p:nvSpPr>
            <p:cNvPr id="95" name="TextBox 94">
              <a:extLst>
                <a:ext uri="{FF2B5EF4-FFF2-40B4-BE49-F238E27FC236}">
                  <a16:creationId xmlns:a16="http://schemas.microsoft.com/office/drawing/2014/main" id="{3E57EE01-6658-4ED8-85AE-F39A252FA6E1}"/>
                </a:ext>
              </a:extLst>
            </p:cNvPr>
            <p:cNvSpPr txBox="1"/>
            <p:nvPr/>
          </p:nvSpPr>
          <p:spPr>
            <a:xfrm>
              <a:off x="3170417" y="4229206"/>
              <a:ext cx="2298076" cy="246221"/>
            </a:xfrm>
            <a:prstGeom prst="rect">
              <a:avLst/>
            </a:prstGeom>
            <a:noFill/>
            <a:ln>
              <a:noFill/>
            </a:ln>
          </p:spPr>
          <p:txBody>
            <a:bodyPr wrap="square" lIns="0" tIns="0" rIns="0" bIns="0" rtlCol="0" anchor="ctr" anchorCtr="0">
              <a:spAutoFit/>
            </a:bodyPr>
            <a:lstStyle/>
            <a:p>
              <a:pPr algn="l"/>
              <a:r>
                <a:rPr lang="sk-SK" sz="1600" b="0" dirty="0">
                  <a:solidFill>
                    <a:schemeClr val="bg1"/>
                  </a:solidFill>
                  <a:latin typeface="Century Gothic" panose="020B0502020202020204" pitchFamily="34" charset="0"/>
                </a:rPr>
                <a:t>ACROSS 4 CONTINENTS</a:t>
              </a:r>
              <a:endParaRPr lang="en-GB" sz="1600" b="0" dirty="0">
                <a:solidFill>
                  <a:schemeClr val="bg1"/>
                </a:solidFill>
                <a:latin typeface="Century Gothic" panose="020B0502020202020204" pitchFamily="34" charset="0"/>
              </a:endParaRPr>
            </a:p>
          </p:txBody>
        </p:sp>
      </p:grpSp>
      <p:grpSp>
        <p:nvGrpSpPr>
          <p:cNvPr id="96" name="Group 95" descr="more than 100 global clients">
            <a:extLst>
              <a:ext uri="{FF2B5EF4-FFF2-40B4-BE49-F238E27FC236}">
                <a16:creationId xmlns:a16="http://schemas.microsoft.com/office/drawing/2014/main" id="{B5A1B2D8-E432-425A-99E9-E5E980BA37AD}"/>
              </a:ext>
            </a:extLst>
          </p:cNvPr>
          <p:cNvGrpSpPr/>
          <p:nvPr userDrawn="1"/>
        </p:nvGrpSpPr>
        <p:grpSpPr>
          <a:xfrm>
            <a:off x="5920110" y="4142353"/>
            <a:ext cx="1805300" cy="742672"/>
            <a:chOff x="5576575" y="3836611"/>
            <a:chExt cx="1805300" cy="742672"/>
          </a:xfrm>
        </p:grpSpPr>
        <p:sp>
          <p:nvSpPr>
            <p:cNvPr id="97" name="TextBox 96">
              <a:extLst>
                <a:ext uri="{FF2B5EF4-FFF2-40B4-BE49-F238E27FC236}">
                  <a16:creationId xmlns:a16="http://schemas.microsoft.com/office/drawing/2014/main" id="{C3C08CD7-E016-447E-9D5D-41CC00B3073A}"/>
                </a:ext>
              </a:extLst>
            </p:cNvPr>
            <p:cNvSpPr txBox="1"/>
            <p:nvPr/>
          </p:nvSpPr>
          <p:spPr>
            <a:xfrm>
              <a:off x="6565265" y="3994909"/>
              <a:ext cx="816610" cy="246221"/>
            </a:xfrm>
            <a:prstGeom prst="rect">
              <a:avLst/>
            </a:prstGeom>
            <a:noFill/>
            <a:ln>
              <a:noFill/>
            </a:ln>
          </p:spPr>
          <p:txBody>
            <a:bodyPr wrap="square" lIns="0" tIns="0" rIns="0" bIns="0" rtlCol="0">
              <a:spAutoFit/>
            </a:bodyPr>
            <a:lstStyle/>
            <a:p>
              <a:pPr algn="l"/>
              <a:r>
                <a:rPr lang="sk-SK" sz="1600" b="1" dirty="0">
                  <a:solidFill>
                    <a:schemeClr val="bg1"/>
                  </a:solidFill>
                  <a:latin typeface="Century Gothic" panose="020B0502020202020204" pitchFamily="34" charset="0"/>
                </a:rPr>
                <a:t>GLOBAL</a:t>
              </a:r>
              <a:endParaRPr lang="en-GB" sz="1600" b="1" dirty="0">
                <a:solidFill>
                  <a:schemeClr val="bg1"/>
                </a:solidFill>
                <a:latin typeface="Century Gothic" panose="020B0502020202020204" pitchFamily="34" charset="0"/>
              </a:endParaRPr>
            </a:p>
          </p:txBody>
        </p:sp>
        <p:sp>
          <p:nvSpPr>
            <p:cNvPr id="98" name="TextBox 97">
              <a:extLst>
                <a:ext uri="{FF2B5EF4-FFF2-40B4-BE49-F238E27FC236}">
                  <a16:creationId xmlns:a16="http://schemas.microsoft.com/office/drawing/2014/main" id="{97CDC3BC-DAEB-4B4D-B583-6FE71816CEAE}"/>
                </a:ext>
              </a:extLst>
            </p:cNvPr>
            <p:cNvSpPr txBox="1"/>
            <p:nvPr/>
          </p:nvSpPr>
          <p:spPr>
            <a:xfrm>
              <a:off x="5576575" y="3902175"/>
              <a:ext cx="1057691" cy="677108"/>
            </a:xfrm>
            <a:prstGeom prst="rect">
              <a:avLst/>
            </a:prstGeom>
            <a:noFill/>
            <a:ln>
              <a:noFill/>
            </a:ln>
          </p:spPr>
          <p:txBody>
            <a:bodyPr wrap="square" lIns="0" tIns="0" rIns="0" bIns="0" rtlCol="0">
              <a:spAutoFit/>
            </a:bodyPr>
            <a:lstStyle/>
            <a:p>
              <a:pPr algn="l"/>
              <a:r>
                <a:rPr lang="en-US" sz="4400" b="1" dirty="0">
                  <a:solidFill>
                    <a:schemeClr val="bg1"/>
                  </a:solidFill>
                  <a:latin typeface="Century Gothic" panose="020B0502020202020204" pitchFamily="34" charset="0"/>
                </a:rPr>
                <a:t>100</a:t>
              </a:r>
              <a:endParaRPr lang="sk-SK" sz="4000" b="1" dirty="0">
                <a:solidFill>
                  <a:schemeClr val="bg1"/>
                </a:solidFill>
                <a:latin typeface="Century Gothic" panose="020B0502020202020204" pitchFamily="34" charset="0"/>
              </a:endParaRPr>
            </a:p>
          </p:txBody>
        </p:sp>
        <p:sp>
          <p:nvSpPr>
            <p:cNvPr id="99" name="TextBox 98">
              <a:extLst>
                <a:ext uri="{FF2B5EF4-FFF2-40B4-BE49-F238E27FC236}">
                  <a16:creationId xmlns:a16="http://schemas.microsoft.com/office/drawing/2014/main" id="{13D63B7D-B412-433C-BDE4-35BFEEA3F1C0}"/>
                </a:ext>
              </a:extLst>
            </p:cNvPr>
            <p:cNvSpPr txBox="1"/>
            <p:nvPr/>
          </p:nvSpPr>
          <p:spPr>
            <a:xfrm>
              <a:off x="6457126" y="3836611"/>
              <a:ext cx="177140"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a:t>
              </a:r>
              <a:endParaRPr lang="en-GB" sz="2800" b="1" dirty="0">
                <a:solidFill>
                  <a:schemeClr val="bg1"/>
                </a:solidFill>
                <a:latin typeface="Century Gothic" panose="020B0502020202020204" pitchFamily="34" charset="0"/>
              </a:endParaRPr>
            </a:p>
          </p:txBody>
        </p:sp>
        <p:sp>
          <p:nvSpPr>
            <p:cNvPr id="100" name="TextBox 99">
              <a:extLst>
                <a:ext uri="{FF2B5EF4-FFF2-40B4-BE49-F238E27FC236}">
                  <a16:creationId xmlns:a16="http://schemas.microsoft.com/office/drawing/2014/main" id="{BCBE2BF0-C392-4D7C-A7C4-EE30B23E24A5}"/>
                </a:ext>
              </a:extLst>
            </p:cNvPr>
            <p:cNvSpPr txBox="1"/>
            <p:nvPr/>
          </p:nvSpPr>
          <p:spPr>
            <a:xfrm>
              <a:off x="6568572" y="4229634"/>
              <a:ext cx="813301" cy="256993"/>
            </a:xfrm>
            <a:prstGeom prst="rect">
              <a:avLst/>
            </a:prstGeom>
            <a:noFill/>
            <a:ln>
              <a:noFill/>
            </a:ln>
          </p:spPr>
          <p:txBody>
            <a:bodyPr wrap="square" lIns="0" tIns="0" rIns="0" bIns="0" rtlCol="0">
              <a:spAutoFit/>
            </a:bodyPr>
            <a:lstStyle/>
            <a:p>
              <a:pPr algn="l"/>
              <a:r>
                <a:rPr lang="sk-SK" sz="1670" b="1" dirty="0">
                  <a:solidFill>
                    <a:schemeClr val="bg1"/>
                  </a:solidFill>
                  <a:latin typeface="Century Gothic" panose="020B0502020202020204" pitchFamily="34" charset="0"/>
                </a:rPr>
                <a:t>CLIENTS</a:t>
              </a:r>
              <a:endParaRPr lang="en-GB" sz="1670" b="1" dirty="0">
                <a:solidFill>
                  <a:schemeClr val="bg1"/>
                </a:solidFill>
                <a:latin typeface="Century Gothic" panose="020B0502020202020204" pitchFamily="34" charset="0"/>
              </a:endParaRPr>
            </a:p>
          </p:txBody>
        </p:sp>
      </p:grpSp>
      <p:grpSp>
        <p:nvGrpSpPr>
          <p:cNvPr id="3" name="Group 2" descr="more than 20 years of industry experience">
            <a:extLst>
              <a:ext uri="{FF2B5EF4-FFF2-40B4-BE49-F238E27FC236}">
                <a16:creationId xmlns:a16="http://schemas.microsoft.com/office/drawing/2014/main" id="{DC2E9607-AD44-66ED-8C29-0E28F16C9552}"/>
              </a:ext>
            </a:extLst>
          </p:cNvPr>
          <p:cNvGrpSpPr/>
          <p:nvPr userDrawn="1"/>
        </p:nvGrpSpPr>
        <p:grpSpPr>
          <a:xfrm>
            <a:off x="8216897" y="4088424"/>
            <a:ext cx="1410143" cy="853498"/>
            <a:chOff x="8216897" y="4088424"/>
            <a:chExt cx="1410143" cy="853498"/>
          </a:xfrm>
        </p:grpSpPr>
        <p:sp>
          <p:nvSpPr>
            <p:cNvPr id="157" name="TextBox 156">
              <a:extLst>
                <a:ext uri="{FF2B5EF4-FFF2-40B4-BE49-F238E27FC236}">
                  <a16:creationId xmlns:a16="http://schemas.microsoft.com/office/drawing/2014/main" id="{4E5AC523-E96B-409D-814E-AF0482151FA2}"/>
                </a:ext>
              </a:extLst>
            </p:cNvPr>
            <p:cNvSpPr txBox="1"/>
            <p:nvPr userDrawn="1"/>
          </p:nvSpPr>
          <p:spPr>
            <a:xfrm>
              <a:off x="8724141" y="4088424"/>
              <a:ext cx="199329"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a:t>
              </a:r>
              <a:endParaRPr lang="en-GB" sz="2800" b="1" dirty="0">
                <a:solidFill>
                  <a:schemeClr val="bg1"/>
                </a:solidFill>
                <a:latin typeface="Century Gothic" panose="020B0502020202020204" pitchFamily="34" charset="0"/>
              </a:endParaRPr>
            </a:p>
          </p:txBody>
        </p:sp>
        <p:grpSp>
          <p:nvGrpSpPr>
            <p:cNvPr id="87" name="Group 86" descr="more than 20 years of industry experience">
              <a:extLst>
                <a:ext uri="{FF2B5EF4-FFF2-40B4-BE49-F238E27FC236}">
                  <a16:creationId xmlns:a16="http://schemas.microsoft.com/office/drawing/2014/main" id="{FA1E3E11-011F-4F7F-B687-19EFCC1C6C34}"/>
                </a:ext>
              </a:extLst>
            </p:cNvPr>
            <p:cNvGrpSpPr/>
            <p:nvPr userDrawn="1"/>
          </p:nvGrpSpPr>
          <p:grpSpPr>
            <a:xfrm>
              <a:off x="8216897" y="4154732"/>
              <a:ext cx="1410143" cy="787190"/>
              <a:chOff x="7881875" y="3805941"/>
              <a:chExt cx="1410143" cy="787190"/>
            </a:xfrm>
          </p:grpSpPr>
          <p:sp>
            <p:nvSpPr>
              <p:cNvPr id="88" name="TextBox 87">
                <a:extLst>
                  <a:ext uri="{FF2B5EF4-FFF2-40B4-BE49-F238E27FC236}">
                    <a16:creationId xmlns:a16="http://schemas.microsoft.com/office/drawing/2014/main" id="{94AEA838-9FA1-49C2-9DA9-8514253B6264}"/>
                  </a:ext>
                </a:extLst>
              </p:cNvPr>
              <p:cNvSpPr txBox="1"/>
              <p:nvPr/>
            </p:nvSpPr>
            <p:spPr>
              <a:xfrm>
                <a:off x="7881875" y="3805941"/>
                <a:ext cx="1238228" cy="615553"/>
              </a:xfrm>
              <a:prstGeom prst="rect">
                <a:avLst/>
              </a:prstGeom>
              <a:noFill/>
              <a:ln>
                <a:noFill/>
              </a:ln>
            </p:spPr>
            <p:txBody>
              <a:bodyPr wrap="square" lIns="0" tIns="0" rIns="0" bIns="0" rtlCol="0">
                <a:spAutoFit/>
              </a:bodyPr>
              <a:lstStyle/>
              <a:p>
                <a:pPr algn="l"/>
                <a:r>
                  <a:rPr lang="sk-SK" sz="4000" b="1" dirty="0">
                    <a:solidFill>
                      <a:schemeClr val="bg1"/>
                    </a:solidFill>
                    <a:latin typeface="Century Gothic" panose="020B0502020202020204" pitchFamily="34" charset="0"/>
                  </a:rPr>
                  <a:t>2</a:t>
                </a:r>
                <a:r>
                  <a:rPr lang="en-GB" sz="4000" b="1" dirty="0">
                    <a:solidFill>
                      <a:schemeClr val="bg1"/>
                    </a:solidFill>
                    <a:latin typeface="Century Gothic" panose="020B0502020202020204" pitchFamily="34" charset="0"/>
                  </a:rPr>
                  <a:t>0</a:t>
                </a:r>
                <a:endParaRPr lang="en-GB" sz="5400" b="1" dirty="0">
                  <a:solidFill>
                    <a:schemeClr val="bg1"/>
                  </a:solidFill>
                  <a:latin typeface="Century Gothic" panose="020B0502020202020204" pitchFamily="34" charset="0"/>
                </a:endParaRPr>
              </a:p>
            </p:txBody>
          </p:sp>
          <p:sp>
            <p:nvSpPr>
              <p:cNvPr id="89" name="TextBox 88">
                <a:extLst>
                  <a:ext uri="{FF2B5EF4-FFF2-40B4-BE49-F238E27FC236}">
                    <a16:creationId xmlns:a16="http://schemas.microsoft.com/office/drawing/2014/main" id="{222450DF-2F32-4374-B91F-D3F7A2C44725}"/>
                  </a:ext>
                </a:extLst>
              </p:cNvPr>
              <p:cNvSpPr txBox="1"/>
              <p:nvPr/>
            </p:nvSpPr>
            <p:spPr>
              <a:xfrm>
                <a:off x="7892661" y="4316132"/>
                <a:ext cx="1399356" cy="276999"/>
              </a:xfrm>
              <a:prstGeom prst="rect">
                <a:avLst/>
              </a:prstGeom>
              <a:noFill/>
              <a:ln>
                <a:noFill/>
              </a:ln>
            </p:spPr>
            <p:txBody>
              <a:bodyPr wrap="square" lIns="0" tIns="0" rIns="0" bIns="0" rtlCol="0">
                <a:spAutoFit/>
              </a:bodyPr>
              <a:lstStyle/>
              <a:p>
                <a:pPr algn="l"/>
                <a:r>
                  <a:rPr lang="sk-SK" sz="1800" dirty="0">
                    <a:solidFill>
                      <a:schemeClr val="bg1"/>
                    </a:solidFill>
                    <a:latin typeface="Century Gothic" panose="020B0502020202020204" pitchFamily="34" charset="0"/>
                  </a:rPr>
                  <a:t>EXPERIENCE</a:t>
                </a:r>
                <a:endParaRPr lang="en-GB" sz="1800" dirty="0">
                  <a:solidFill>
                    <a:schemeClr val="bg1"/>
                  </a:solidFill>
                  <a:latin typeface="Century Gothic" panose="020B0502020202020204" pitchFamily="34" charset="0"/>
                </a:endParaRPr>
              </a:p>
            </p:txBody>
          </p:sp>
          <p:sp>
            <p:nvSpPr>
              <p:cNvPr id="90" name="TextBox 89">
                <a:extLst>
                  <a:ext uri="{FF2B5EF4-FFF2-40B4-BE49-F238E27FC236}">
                    <a16:creationId xmlns:a16="http://schemas.microsoft.com/office/drawing/2014/main" id="{35173D68-0348-494F-A232-0ED95D147242}"/>
                  </a:ext>
                </a:extLst>
              </p:cNvPr>
              <p:cNvSpPr txBox="1"/>
              <p:nvPr/>
            </p:nvSpPr>
            <p:spPr>
              <a:xfrm>
                <a:off x="8553523" y="4153157"/>
                <a:ext cx="716144" cy="192360"/>
              </a:xfrm>
              <a:prstGeom prst="rect">
                <a:avLst/>
              </a:prstGeom>
              <a:noFill/>
              <a:ln>
                <a:noFill/>
              </a:ln>
            </p:spPr>
            <p:txBody>
              <a:bodyPr wrap="square" lIns="0" tIns="0" rIns="0" bIns="0" rtlCol="0">
                <a:spAutoFit/>
              </a:bodyPr>
              <a:lstStyle/>
              <a:p>
                <a:pPr algn="l"/>
                <a:r>
                  <a:rPr lang="sk-SK" sz="1250" dirty="0">
                    <a:solidFill>
                      <a:schemeClr val="bg1"/>
                    </a:solidFill>
                    <a:latin typeface="Century Gothic" panose="020B0502020202020204" pitchFamily="34" charset="0"/>
                  </a:rPr>
                  <a:t>INDUSTRY</a:t>
                </a:r>
                <a:endParaRPr lang="en-GB" sz="1250" dirty="0">
                  <a:solidFill>
                    <a:schemeClr val="bg1"/>
                  </a:solidFill>
                  <a:latin typeface="Century Gothic" panose="020B0502020202020204" pitchFamily="34" charset="0"/>
                </a:endParaRPr>
              </a:p>
            </p:txBody>
          </p:sp>
          <p:sp>
            <p:nvSpPr>
              <p:cNvPr id="91" name="TextBox 90">
                <a:extLst>
                  <a:ext uri="{FF2B5EF4-FFF2-40B4-BE49-F238E27FC236}">
                    <a16:creationId xmlns:a16="http://schemas.microsoft.com/office/drawing/2014/main" id="{5E93BA02-6706-421C-9FC9-330704ADFD0C}"/>
                  </a:ext>
                </a:extLst>
              </p:cNvPr>
              <p:cNvSpPr txBox="1"/>
              <p:nvPr/>
            </p:nvSpPr>
            <p:spPr>
              <a:xfrm>
                <a:off x="8517814" y="3873192"/>
                <a:ext cx="774204"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YEARS</a:t>
                </a:r>
                <a:endParaRPr lang="en-GB" sz="2000" b="1" dirty="0">
                  <a:solidFill>
                    <a:schemeClr val="bg1"/>
                  </a:solidFill>
                  <a:latin typeface="Century Gothic" panose="020B0502020202020204" pitchFamily="34" charset="0"/>
                </a:endParaRPr>
              </a:p>
            </p:txBody>
          </p:sp>
        </p:grpSp>
      </p:grpSp>
      <p:grpSp>
        <p:nvGrpSpPr>
          <p:cNvPr id="76" name="Group 75" descr="about 7000 employees">
            <a:extLst>
              <a:ext uri="{FF2B5EF4-FFF2-40B4-BE49-F238E27FC236}">
                <a16:creationId xmlns:a16="http://schemas.microsoft.com/office/drawing/2014/main" id="{5323C358-5B69-C22E-5DE4-3D9780449B65}"/>
              </a:ext>
            </a:extLst>
          </p:cNvPr>
          <p:cNvGrpSpPr/>
          <p:nvPr userDrawn="1"/>
        </p:nvGrpSpPr>
        <p:grpSpPr>
          <a:xfrm>
            <a:off x="10083045" y="4150394"/>
            <a:ext cx="1288292" cy="789342"/>
            <a:chOff x="9818544" y="3812992"/>
            <a:chExt cx="1288292" cy="789342"/>
          </a:xfrm>
        </p:grpSpPr>
        <p:sp>
          <p:nvSpPr>
            <p:cNvPr id="77" name="TextBox 76">
              <a:extLst>
                <a:ext uri="{FF2B5EF4-FFF2-40B4-BE49-F238E27FC236}">
                  <a16:creationId xmlns:a16="http://schemas.microsoft.com/office/drawing/2014/main" id="{F2E14E4A-4DB7-A664-4A7C-A32375B90DAD}"/>
                </a:ext>
              </a:extLst>
            </p:cNvPr>
            <p:cNvSpPr txBox="1"/>
            <p:nvPr/>
          </p:nvSpPr>
          <p:spPr>
            <a:xfrm>
              <a:off x="9818544" y="3812992"/>
              <a:ext cx="1288292" cy="553998"/>
            </a:xfrm>
            <a:prstGeom prst="rect">
              <a:avLst/>
            </a:prstGeom>
            <a:noFill/>
            <a:ln>
              <a:noFill/>
            </a:ln>
          </p:spPr>
          <p:txBody>
            <a:bodyPr wrap="square" lIns="0" tIns="0" rIns="0" bIns="0" rtlCol="0">
              <a:spAutoFit/>
            </a:bodyPr>
            <a:lstStyle/>
            <a:p>
              <a:pPr algn="l"/>
              <a:r>
                <a:rPr lang="sk-SK" sz="5400" b="1" baseline="-25000" dirty="0">
                  <a:solidFill>
                    <a:schemeClr val="bg1"/>
                  </a:solidFill>
                  <a:latin typeface="Century Gothic" panose="020B0502020202020204" pitchFamily="34" charset="0"/>
                </a:rPr>
                <a:t>˜</a:t>
              </a:r>
              <a:r>
                <a:rPr lang="sk-SK" sz="3600" b="1" dirty="0">
                  <a:solidFill>
                    <a:schemeClr val="bg1"/>
                  </a:solidFill>
                  <a:latin typeface="Century Gothic" panose="020B0502020202020204" pitchFamily="34" charset="0"/>
                </a:rPr>
                <a:t>7</a:t>
              </a:r>
              <a:r>
                <a:rPr lang="sk-SK" sz="3600" b="1" i="0" dirty="0">
                  <a:solidFill>
                    <a:schemeClr val="bg1"/>
                  </a:solidFill>
                  <a:latin typeface="Century Gothic" panose="020B0502020202020204" pitchFamily="34" charset="0"/>
                </a:rPr>
                <a:t>000</a:t>
              </a:r>
              <a:endParaRPr lang="en-GB" sz="3600" b="1" i="0" dirty="0">
                <a:solidFill>
                  <a:schemeClr val="bg1"/>
                </a:solidFill>
                <a:latin typeface="Century Gothic" panose="020B0502020202020204" pitchFamily="34" charset="0"/>
              </a:endParaRPr>
            </a:p>
          </p:txBody>
        </p:sp>
        <p:sp>
          <p:nvSpPr>
            <p:cNvPr id="78" name="TextBox 77">
              <a:extLst>
                <a:ext uri="{FF2B5EF4-FFF2-40B4-BE49-F238E27FC236}">
                  <a16:creationId xmlns:a16="http://schemas.microsoft.com/office/drawing/2014/main" id="{430D3B79-7AF0-25C4-4A9E-4F4B3B09DA0B}"/>
                </a:ext>
              </a:extLst>
            </p:cNvPr>
            <p:cNvSpPr txBox="1"/>
            <p:nvPr/>
          </p:nvSpPr>
          <p:spPr>
            <a:xfrm>
              <a:off x="9855169" y="4340724"/>
              <a:ext cx="1251667" cy="261610"/>
            </a:xfrm>
            <a:prstGeom prst="rect">
              <a:avLst/>
            </a:prstGeom>
            <a:noFill/>
            <a:ln>
              <a:noFill/>
            </a:ln>
          </p:spPr>
          <p:txBody>
            <a:bodyPr wrap="square" lIns="0" tIns="0" rIns="0" bIns="0" rtlCol="0">
              <a:spAutoFit/>
            </a:bodyPr>
            <a:lstStyle/>
            <a:p>
              <a:pPr algn="l"/>
              <a:r>
                <a:rPr lang="sk-SK" sz="1700" i="0" dirty="0">
                  <a:solidFill>
                    <a:schemeClr val="bg1"/>
                  </a:solidFill>
                  <a:latin typeface="Century Gothic" panose="020B0502020202020204" pitchFamily="34" charset="0"/>
                </a:rPr>
                <a:t>EMPLOYEES</a:t>
              </a:r>
              <a:endParaRPr lang="en-GB" sz="1700" i="0" dirty="0">
                <a:solidFill>
                  <a:schemeClr val="bg1"/>
                </a:solidFill>
                <a:latin typeface="Century Gothic" panose="020B0502020202020204" pitchFamily="34" charset="0"/>
              </a:endParaRPr>
            </a:p>
          </p:txBody>
        </p:sp>
      </p:grpSp>
      <p:sp>
        <p:nvSpPr>
          <p:cNvPr id="105" name="TextBox 104">
            <a:extLst>
              <a:ext uri="{FF2B5EF4-FFF2-40B4-BE49-F238E27FC236}">
                <a16:creationId xmlns:a16="http://schemas.microsoft.com/office/drawing/2014/main" id="{DF89D3F4-B19F-4969-8700-54959639308D}"/>
              </a:ext>
            </a:extLst>
          </p:cNvPr>
          <p:cNvSpPr txBox="1"/>
          <p:nvPr userDrawn="1"/>
        </p:nvSpPr>
        <p:spPr>
          <a:xfrm>
            <a:off x="559048" y="5921995"/>
            <a:ext cx="1389221" cy="323165"/>
          </a:xfrm>
          <a:prstGeom prst="rect">
            <a:avLst/>
          </a:prstGeom>
          <a:noFill/>
          <a:ln>
            <a:noFill/>
          </a:ln>
        </p:spPr>
        <p:txBody>
          <a:bodyPr wrap="square" lIns="0" tIns="0" rIns="0" bIns="0" rtlCol="0">
            <a:spAutoFit/>
          </a:bodyPr>
          <a:lstStyle/>
          <a:p>
            <a:pPr algn="l"/>
            <a:r>
              <a:rPr lang="en-GB" sz="1050" b="1" noProof="0" dirty="0">
                <a:solidFill>
                  <a:schemeClr val="tx1"/>
                </a:solidFill>
                <a:latin typeface="Century Gothic" panose="020B0502020202020204" pitchFamily="34" charset="0"/>
              </a:rPr>
              <a:t>Digital</a:t>
            </a:r>
          </a:p>
          <a:p>
            <a:pPr algn="l"/>
            <a:r>
              <a:rPr lang="en-GB" altLang="en-US" sz="1050" b="1" kern="1200" noProof="0" dirty="0">
                <a:solidFill>
                  <a:schemeClr val="tx1"/>
                </a:solidFill>
                <a:latin typeface="Century Gothic" panose="020B0502020202020204" pitchFamily="34" charset="0"/>
                <a:sym typeface="Wingdings" panose="05000000000000000000" pitchFamily="2" charset="2"/>
              </a:rPr>
              <a:t>Transformation</a:t>
            </a:r>
          </a:p>
        </p:txBody>
      </p:sp>
      <p:sp>
        <p:nvSpPr>
          <p:cNvPr id="115" name="TextBox 114">
            <a:extLst>
              <a:ext uri="{FF2B5EF4-FFF2-40B4-BE49-F238E27FC236}">
                <a16:creationId xmlns:a16="http://schemas.microsoft.com/office/drawing/2014/main" id="{5A0E4A57-3DE5-4AFC-9C9F-8C10158C5F28}"/>
              </a:ext>
            </a:extLst>
          </p:cNvPr>
          <p:cNvSpPr txBox="1"/>
          <p:nvPr userDrawn="1"/>
        </p:nvSpPr>
        <p:spPr>
          <a:xfrm>
            <a:off x="2983743" y="5921995"/>
            <a:ext cx="1389221" cy="323165"/>
          </a:xfrm>
          <a:prstGeom prst="rect">
            <a:avLst/>
          </a:prstGeom>
          <a:noFill/>
          <a:ln>
            <a:noFill/>
          </a:ln>
        </p:spPr>
        <p:txBody>
          <a:bodyPr wrap="square" lIns="0" tIns="0" rIns="0" bIns="0" rtlCol="0">
            <a:spAutoFit/>
          </a:bodyPr>
          <a:lstStyle/>
          <a:p>
            <a:pPr algn="l"/>
            <a:r>
              <a:rPr lang="en-GB" sz="1050" b="1" noProof="0">
                <a:solidFill>
                  <a:schemeClr val="tx1"/>
                </a:solidFill>
                <a:latin typeface="Century Gothic" panose="020B0502020202020204" pitchFamily="34" charset="0"/>
              </a:rPr>
              <a:t>Innovation</a:t>
            </a:r>
            <a:r>
              <a:rPr lang="en-GB" sz="1050" b="1" dirty="0">
                <a:solidFill>
                  <a:schemeClr val="tx1"/>
                </a:solidFill>
                <a:latin typeface="Century Gothic" panose="020B0502020202020204" pitchFamily="34" charset="0"/>
              </a:rPr>
              <a:t> </a:t>
            </a:r>
            <a:r>
              <a:rPr lang="en-GB" altLang="en-US" sz="1050" b="1" kern="1200" dirty="0">
                <a:solidFill>
                  <a:schemeClr val="tx1"/>
                </a:solidFill>
                <a:latin typeface="Century Gothic" panose="020B0502020202020204" pitchFamily="34" charset="0"/>
                <a:sym typeface="Wingdings" panose="05000000000000000000" pitchFamily="2" charset="2"/>
              </a:rPr>
              <a:t>and Thought Leadership</a:t>
            </a:r>
          </a:p>
        </p:txBody>
      </p:sp>
      <p:sp>
        <p:nvSpPr>
          <p:cNvPr id="139" name="TextBox 138">
            <a:extLst>
              <a:ext uri="{FF2B5EF4-FFF2-40B4-BE49-F238E27FC236}">
                <a16:creationId xmlns:a16="http://schemas.microsoft.com/office/drawing/2014/main" id="{1E101A61-4A65-4D09-9C84-0B2354294CBF}"/>
              </a:ext>
            </a:extLst>
          </p:cNvPr>
          <p:cNvSpPr txBox="1"/>
          <p:nvPr userDrawn="1"/>
        </p:nvSpPr>
        <p:spPr>
          <a:xfrm>
            <a:off x="5408438" y="5921995"/>
            <a:ext cx="1389221" cy="323165"/>
          </a:xfrm>
          <a:prstGeom prst="rect">
            <a:avLst/>
          </a:prstGeom>
          <a:noFill/>
          <a:ln>
            <a:noFill/>
          </a:ln>
        </p:spPr>
        <p:txBody>
          <a:bodyPr wrap="square" lIns="0" tIns="0" rIns="0" bIns="0" rtlCol="0">
            <a:spAutoFit/>
          </a:bodyPr>
          <a:lstStyle/>
          <a:p>
            <a:pPr algn="l"/>
            <a:r>
              <a:rPr lang="en-GB" sz="1050" b="1" noProof="0" dirty="0">
                <a:solidFill>
                  <a:schemeClr val="tx1"/>
                </a:solidFill>
                <a:latin typeface="Century Gothic" panose="020B0502020202020204" pitchFamily="34" charset="0"/>
              </a:rPr>
              <a:t>Execution</a:t>
            </a:r>
          </a:p>
          <a:p>
            <a:pPr algn="l"/>
            <a:r>
              <a:rPr lang="en-GB" altLang="en-US" sz="1050" b="1" kern="1200" noProof="0" dirty="0">
                <a:solidFill>
                  <a:schemeClr val="tx1"/>
                </a:solidFill>
                <a:latin typeface="Century Gothic" panose="020B0502020202020204" pitchFamily="34" charset="0"/>
                <a:sym typeface="Wingdings" panose="05000000000000000000" pitchFamily="2" charset="2"/>
              </a:rPr>
              <a:t>Excellence</a:t>
            </a:r>
          </a:p>
        </p:txBody>
      </p:sp>
      <p:sp>
        <p:nvSpPr>
          <p:cNvPr id="148" name="TextBox 147">
            <a:extLst>
              <a:ext uri="{FF2B5EF4-FFF2-40B4-BE49-F238E27FC236}">
                <a16:creationId xmlns:a16="http://schemas.microsoft.com/office/drawing/2014/main" id="{2F47A025-D54A-4731-88C5-814E6ACB34D8}"/>
              </a:ext>
            </a:extLst>
          </p:cNvPr>
          <p:cNvSpPr txBox="1"/>
          <p:nvPr userDrawn="1"/>
        </p:nvSpPr>
        <p:spPr>
          <a:xfrm>
            <a:off x="7833133" y="5921995"/>
            <a:ext cx="1389221" cy="323165"/>
          </a:xfrm>
          <a:prstGeom prst="rect">
            <a:avLst/>
          </a:prstGeom>
          <a:noFill/>
          <a:ln>
            <a:noFill/>
          </a:ln>
        </p:spPr>
        <p:txBody>
          <a:bodyPr wrap="square" lIns="0" tIns="0" rIns="0" bIns="0" rtlCol="0">
            <a:spAutoFit/>
          </a:bodyPr>
          <a:lstStyle/>
          <a:p>
            <a:r>
              <a:rPr lang="en-GB" sz="1050" b="1" noProof="0" dirty="0">
                <a:solidFill>
                  <a:schemeClr val="tx1"/>
                </a:solidFill>
                <a:latin typeface="Century Gothic" panose="020B0502020202020204" pitchFamily="34" charset="0"/>
              </a:rPr>
              <a:t>Unique</a:t>
            </a:r>
          </a:p>
          <a:p>
            <a:r>
              <a:rPr lang="en-GB" sz="1050" b="1" noProof="0" dirty="0">
                <a:solidFill>
                  <a:schemeClr val="tx1"/>
                </a:solidFill>
                <a:latin typeface="Century Gothic" panose="020B0502020202020204" pitchFamily="34" charset="0"/>
              </a:rPr>
              <a:t>Culture</a:t>
            </a:r>
          </a:p>
        </p:txBody>
      </p:sp>
      <p:sp>
        <p:nvSpPr>
          <p:cNvPr id="151" name="TextBox 150">
            <a:extLst>
              <a:ext uri="{FF2B5EF4-FFF2-40B4-BE49-F238E27FC236}">
                <a16:creationId xmlns:a16="http://schemas.microsoft.com/office/drawing/2014/main" id="{BBE61C3D-9E08-4BEA-B36C-60A5918DFB9A}"/>
              </a:ext>
            </a:extLst>
          </p:cNvPr>
          <p:cNvSpPr txBox="1"/>
          <p:nvPr userDrawn="1"/>
        </p:nvSpPr>
        <p:spPr>
          <a:xfrm>
            <a:off x="10257827" y="5921995"/>
            <a:ext cx="1389221" cy="323165"/>
          </a:xfrm>
          <a:prstGeom prst="rect">
            <a:avLst/>
          </a:prstGeom>
          <a:noFill/>
          <a:ln>
            <a:noFill/>
          </a:ln>
        </p:spPr>
        <p:txBody>
          <a:bodyPr wrap="square" lIns="0" tIns="0" rIns="0" bIns="0" rtlCol="0">
            <a:spAutoFit/>
          </a:bodyPr>
          <a:lstStyle/>
          <a:p>
            <a:r>
              <a:rPr lang="en-GB" sz="1050" b="1" noProof="0" dirty="0">
                <a:solidFill>
                  <a:schemeClr val="tx1"/>
                </a:solidFill>
                <a:latin typeface="Century Gothic" panose="020B0502020202020204" pitchFamily="34" charset="0"/>
              </a:rPr>
              <a:t>Industry</a:t>
            </a:r>
          </a:p>
          <a:p>
            <a:r>
              <a:rPr lang="en-GB" sz="1050" b="1" noProof="0" dirty="0">
                <a:solidFill>
                  <a:schemeClr val="tx1"/>
                </a:solidFill>
                <a:latin typeface="Century Gothic" panose="020B0502020202020204" pitchFamily="34" charset="0"/>
              </a:rPr>
              <a:t>Experience</a:t>
            </a:r>
          </a:p>
        </p:txBody>
      </p:sp>
    </p:spTree>
    <p:extLst>
      <p:ext uri="{BB962C8B-B14F-4D97-AF65-F5344CB8AC3E}">
        <p14:creationId xmlns:p14="http://schemas.microsoft.com/office/powerpoint/2010/main" val="17118239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bout Capco_dark">
    <p:bg>
      <p:bgPr>
        <a:solidFill>
          <a:schemeClr val="tx1"/>
        </a:solidFill>
        <a:effectLst/>
      </p:bgPr>
    </p:bg>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2FCE8830-C961-4112-93E9-ACEBCFB88A45}"/>
              </a:ext>
              <a:ext uri="{C183D7F6-B498-43B3-948B-1728B52AA6E4}">
                <adec:decorative xmlns:adec="http://schemas.microsoft.com/office/drawing/2017/decorative" val="1"/>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cxnSp>
        <p:nvCxnSpPr>
          <p:cNvPr id="2" name="Straight Connector 1">
            <a:extLst>
              <a:ext uri="{FF2B5EF4-FFF2-40B4-BE49-F238E27FC236}">
                <a16:creationId xmlns:a16="http://schemas.microsoft.com/office/drawing/2014/main" id="{9BBF6421-1880-B460-ECF7-46E43677C521}"/>
              </a:ext>
              <a:ext uri="{C183D7F6-B498-43B3-948B-1728B52AA6E4}">
                <adec:decorative xmlns:adec="http://schemas.microsoft.com/office/drawing/2017/decorative" val="1"/>
              </a:ext>
            </a:extLst>
          </p:cNvPr>
          <p:cNvCxnSpPr>
            <a:cxnSpLocks/>
          </p:cNvCxnSpPr>
          <p:nvPr userDrawn="1"/>
        </p:nvCxnSpPr>
        <p:spPr>
          <a:xfrm>
            <a:off x="542647" y="1876342"/>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C3CE953-EEF6-F0D8-D5CB-AF3212C28380}"/>
              </a:ext>
              <a:ext uri="{C183D7F6-B498-43B3-948B-1728B52AA6E4}">
                <adec:decorative xmlns:adec="http://schemas.microsoft.com/office/drawing/2017/decorative" val="1"/>
              </a:ext>
            </a:extLst>
          </p:cNvPr>
          <p:cNvCxnSpPr>
            <a:cxnSpLocks/>
          </p:cNvCxnSpPr>
          <p:nvPr userDrawn="1"/>
        </p:nvCxnSpPr>
        <p:spPr>
          <a:xfrm>
            <a:off x="559048" y="5866155"/>
            <a:ext cx="138922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87EA80C2-E289-14CA-C832-6248B3F640CB}"/>
              </a:ext>
              <a:ext uri="{C183D7F6-B498-43B3-948B-1728B52AA6E4}">
                <adec:decorative xmlns:adec="http://schemas.microsoft.com/office/drawing/2017/decorative" val="1"/>
              </a:ext>
            </a:extLst>
          </p:cNvPr>
          <p:cNvGrpSpPr/>
          <p:nvPr userDrawn="1"/>
        </p:nvGrpSpPr>
        <p:grpSpPr>
          <a:xfrm>
            <a:off x="560383" y="5293369"/>
            <a:ext cx="472469" cy="459983"/>
            <a:chOff x="2827687" y="2375038"/>
            <a:chExt cx="496315" cy="483199"/>
          </a:xfrm>
        </p:grpSpPr>
        <p:sp>
          <p:nvSpPr>
            <p:cNvPr id="28" name="Freeform: Shape 27">
              <a:extLst>
                <a:ext uri="{FF2B5EF4-FFF2-40B4-BE49-F238E27FC236}">
                  <a16:creationId xmlns:a16="http://schemas.microsoft.com/office/drawing/2014/main" id="{2CB0763F-DC65-BDFE-5274-578DC94CDF81}"/>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29" name="Freeform: Shape 28">
              <a:extLst>
                <a:ext uri="{FF2B5EF4-FFF2-40B4-BE49-F238E27FC236}">
                  <a16:creationId xmlns:a16="http://schemas.microsoft.com/office/drawing/2014/main" id="{0E9F66E9-0C8B-D126-AF88-13601A545058}"/>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30" name="Freeform: Shape 29">
              <a:extLst>
                <a:ext uri="{FF2B5EF4-FFF2-40B4-BE49-F238E27FC236}">
                  <a16:creationId xmlns:a16="http://schemas.microsoft.com/office/drawing/2014/main" id="{801FD892-71C5-85DE-BACC-F9D0B9085072}"/>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31" name="Freeform: Shape 30">
              <a:extLst>
                <a:ext uri="{FF2B5EF4-FFF2-40B4-BE49-F238E27FC236}">
                  <a16:creationId xmlns:a16="http://schemas.microsoft.com/office/drawing/2014/main" id="{171BC0D4-D1D4-15C7-0668-B2C5FAF132D1}"/>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42" name="Freeform: Shape 41">
              <a:extLst>
                <a:ext uri="{FF2B5EF4-FFF2-40B4-BE49-F238E27FC236}">
                  <a16:creationId xmlns:a16="http://schemas.microsoft.com/office/drawing/2014/main" id="{4070F2C6-BE14-A912-2C07-249BADF60198}"/>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50" name="Freeform: Shape 49">
              <a:extLst>
                <a:ext uri="{FF2B5EF4-FFF2-40B4-BE49-F238E27FC236}">
                  <a16:creationId xmlns:a16="http://schemas.microsoft.com/office/drawing/2014/main" id="{75A5A291-AE26-2868-7F8C-562249C85887}"/>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60" name="Freeform: Shape 59">
              <a:extLst>
                <a:ext uri="{FF2B5EF4-FFF2-40B4-BE49-F238E27FC236}">
                  <a16:creationId xmlns:a16="http://schemas.microsoft.com/office/drawing/2014/main" id="{4766689E-0918-1E60-90BA-B0FA47D3BE14}"/>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grpSp>
      <p:cxnSp>
        <p:nvCxnSpPr>
          <p:cNvPr id="64" name="Straight Connector 63">
            <a:extLst>
              <a:ext uri="{FF2B5EF4-FFF2-40B4-BE49-F238E27FC236}">
                <a16:creationId xmlns:a16="http://schemas.microsoft.com/office/drawing/2014/main" id="{B0DAB5A8-D322-DB5B-F905-5260215CE685}"/>
              </a:ext>
              <a:ext uri="{C183D7F6-B498-43B3-948B-1728B52AA6E4}">
                <adec:decorative xmlns:adec="http://schemas.microsoft.com/office/drawing/2017/decorative" val="1"/>
              </a:ext>
            </a:extLst>
          </p:cNvPr>
          <p:cNvCxnSpPr>
            <a:cxnSpLocks/>
          </p:cNvCxnSpPr>
          <p:nvPr userDrawn="1"/>
        </p:nvCxnSpPr>
        <p:spPr>
          <a:xfrm>
            <a:off x="298374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C6747139-2B21-5AD7-BA77-CB47F4DB96CF}"/>
              </a:ext>
              <a:ext uri="{C183D7F6-B498-43B3-948B-1728B52AA6E4}">
                <adec:decorative xmlns:adec="http://schemas.microsoft.com/office/drawing/2017/decorative" val="1"/>
              </a:ext>
            </a:extLst>
          </p:cNvPr>
          <p:cNvGrpSpPr/>
          <p:nvPr userDrawn="1"/>
        </p:nvGrpSpPr>
        <p:grpSpPr>
          <a:xfrm>
            <a:off x="3096992" y="5293867"/>
            <a:ext cx="248640" cy="459485"/>
            <a:chOff x="6265015" y="5709762"/>
            <a:chExt cx="261189" cy="482675"/>
          </a:xfrm>
        </p:grpSpPr>
        <p:sp>
          <p:nvSpPr>
            <p:cNvPr id="81" name="Freeform: Shape 80">
              <a:extLst>
                <a:ext uri="{FF2B5EF4-FFF2-40B4-BE49-F238E27FC236}">
                  <a16:creationId xmlns:a16="http://schemas.microsoft.com/office/drawing/2014/main" id="{59E9F754-7678-300C-C237-90F89BDE5EAD}"/>
                </a:ext>
              </a:extLst>
            </p:cNvPr>
            <p:cNvSpPr/>
            <p:nvPr/>
          </p:nvSpPr>
          <p:spPr>
            <a:xfrm>
              <a:off x="6265015" y="5709762"/>
              <a:ext cx="261189" cy="352604"/>
            </a:xfrm>
            <a:custGeom>
              <a:avLst/>
              <a:gdLst>
                <a:gd name="connsiteX0" fmla="*/ 192024 w 190500"/>
                <a:gd name="connsiteY0" fmla="*/ 95917 h 257175"/>
                <a:gd name="connsiteX1" fmla="*/ 188214 w 190500"/>
                <a:gd name="connsiteY1" fmla="*/ 122682 h 257175"/>
                <a:gd name="connsiteX2" fmla="*/ 187643 w 190500"/>
                <a:gd name="connsiteY2" fmla="*/ 124492 h 257175"/>
                <a:gd name="connsiteX3" fmla="*/ 180118 w 190500"/>
                <a:gd name="connsiteY3" fmla="*/ 142208 h 257175"/>
                <a:gd name="connsiteX4" fmla="*/ 144780 w 190500"/>
                <a:gd name="connsiteY4" fmla="*/ 261747 h 257175"/>
                <a:gd name="connsiteX5" fmla="*/ 47339 w 190500"/>
                <a:gd name="connsiteY5" fmla="*/ 261747 h 257175"/>
                <a:gd name="connsiteX6" fmla="*/ 12192 w 190500"/>
                <a:gd name="connsiteY6" fmla="*/ 142780 h 257175"/>
                <a:gd name="connsiteX7" fmla="*/ 4191 w 190500"/>
                <a:gd name="connsiteY7" fmla="*/ 123825 h 257175"/>
                <a:gd name="connsiteX8" fmla="*/ 3810 w 190500"/>
                <a:gd name="connsiteY8" fmla="*/ 122777 h 257175"/>
                <a:gd name="connsiteX9" fmla="*/ 0 w 190500"/>
                <a:gd name="connsiteY9" fmla="*/ 96012 h 257175"/>
                <a:gd name="connsiteX10" fmla="*/ 96012 w 190500"/>
                <a:gd name="connsiteY10" fmla="*/ 0 h 257175"/>
                <a:gd name="connsiteX11" fmla="*/ 192024 w 190500"/>
                <a:gd name="connsiteY11" fmla="*/ 9591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257175">
                  <a:moveTo>
                    <a:pt x="192024" y="95917"/>
                  </a:moveTo>
                  <a:cubicBezTo>
                    <a:pt x="192024" y="105251"/>
                    <a:pt x="190691" y="114205"/>
                    <a:pt x="188214" y="122682"/>
                  </a:cubicBezTo>
                  <a:cubicBezTo>
                    <a:pt x="188024" y="123254"/>
                    <a:pt x="187833" y="123921"/>
                    <a:pt x="187643" y="124492"/>
                  </a:cubicBezTo>
                  <a:cubicBezTo>
                    <a:pt x="187643" y="124492"/>
                    <a:pt x="182594" y="136017"/>
                    <a:pt x="180118" y="142208"/>
                  </a:cubicBezTo>
                  <a:cubicBezTo>
                    <a:pt x="159734" y="193834"/>
                    <a:pt x="144780" y="261747"/>
                    <a:pt x="144780" y="261747"/>
                  </a:cubicBezTo>
                  <a:lnTo>
                    <a:pt x="47339" y="261747"/>
                  </a:lnTo>
                  <a:cubicBezTo>
                    <a:pt x="47339" y="261747"/>
                    <a:pt x="32480" y="194310"/>
                    <a:pt x="12192" y="142780"/>
                  </a:cubicBezTo>
                  <a:cubicBezTo>
                    <a:pt x="9525" y="136112"/>
                    <a:pt x="6858" y="129731"/>
                    <a:pt x="4191" y="123825"/>
                  </a:cubicBezTo>
                  <a:cubicBezTo>
                    <a:pt x="4001" y="123539"/>
                    <a:pt x="3905" y="123158"/>
                    <a:pt x="3810" y="122777"/>
                  </a:cubicBezTo>
                  <a:cubicBezTo>
                    <a:pt x="1334" y="114300"/>
                    <a:pt x="0" y="105347"/>
                    <a:pt x="0" y="96012"/>
                  </a:cubicBezTo>
                  <a:cubicBezTo>
                    <a:pt x="0" y="42958"/>
                    <a:pt x="43053" y="0"/>
                    <a:pt x="96012" y="0"/>
                  </a:cubicBezTo>
                  <a:cubicBezTo>
                    <a:pt x="149066" y="-95"/>
                    <a:pt x="192024" y="42863"/>
                    <a:pt x="192024" y="95917"/>
                  </a:cubicBezTo>
                  <a:close/>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82" name="Freeform: Shape 81">
              <a:extLst>
                <a:ext uri="{FF2B5EF4-FFF2-40B4-BE49-F238E27FC236}">
                  <a16:creationId xmlns:a16="http://schemas.microsoft.com/office/drawing/2014/main" id="{7C466616-4F91-E8EA-3D3F-A8692A7CFA03}"/>
                </a:ext>
              </a:extLst>
            </p:cNvPr>
            <p:cNvSpPr/>
            <p:nvPr/>
          </p:nvSpPr>
          <p:spPr>
            <a:xfrm>
              <a:off x="6329920" y="6102851"/>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88" name="Freeform: Shape 87">
              <a:extLst>
                <a:ext uri="{FF2B5EF4-FFF2-40B4-BE49-F238E27FC236}">
                  <a16:creationId xmlns:a16="http://schemas.microsoft.com/office/drawing/2014/main" id="{D81C4B18-9CF8-1401-1460-B48026BD795A}"/>
                </a:ext>
              </a:extLst>
            </p:cNvPr>
            <p:cNvSpPr/>
            <p:nvPr/>
          </p:nvSpPr>
          <p:spPr>
            <a:xfrm>
              <a:off x="6329790" y="6141115"/>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89" name="Freeform: Shape 88">
              <a:extLst>
                <a:ext uri="{FF2B5EF4-FFF2-40B4-BE49-F238E27FC236}">
                  <a16:creationId xmlns:a16="http://schemas.microsoft.com/office/drawing/2014/main" id="{D3DA7587-95A4-75BD-1131-7B0402EE7A89}"/>
                </a:ext>
              </a:extLst>
            </p:cNvPr>
            <p:cNvSpPr/>
            <p:nvPr/>
          </p:nvSpPr>
          <p:spPr>
            <a:xfrm>
              <a:off x="6367139" y="6179378"/>
              <a:ext cx="52238" cy="13059"/>
            </a:xfrm>
            <a:custGeom>
              <a:avLst/>
              <a:gdLst>
                <a:gd name="connsiteX0" fmla="*/ 0 w 38100"/>
                <a:gd name="connsiteY0" fmla="*/ 0 h 0"/>
                <a:gd name="connsiteX1" fmla="*/ 42958 w 38100"/>
                <a:gd name="connsiteY1" fmla="*/ 0 h 0"/>
              </a:gdLst>
              <a:ahLst/>
              <a:cxnLst>
                <a:cxn ang="0">
                  <a:pos x="connsiteX0" y="connsiteY0"/>
                </a:cxn>
                <a:cxn ang="0">
                  <a:pos x="connsiteX1" y="connsiteY1"/>
                </a:cxn>
              </a:cxnLst>
              <a:rect l="l" t="t" r="r" b="b"/>
              <a:pathLst>
                <a:path w="38100">
                  <a:moveTo>
                    <a:pt x="0" y="0"/>
                  </a:moveTo>
                  <a:lnTo>
                    <a:pt x="42958"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grpSp>
      <p:cxnSp>
        <p:nvCxnSpPr>
          <p:cNvPr id="90" name="Straight Connector 89">
            <a:extLst>
              <a:ext uri="{FF2B5EF4-FFF2-40B4-BE49-F238E27FC236}">
                <a16:creationId xmlns:a16="http://schemas.microsoft.com/office/drawing/2014/main" id="{93ED91D0-F47D-C03D-FA4A-66C094230B98}"/>
              </a:ext>
              <a:ext uri="{C183D7F6-B498-43B3-948B-1728B52AA6E4}">
                <adec:decorative xmlns:adec="http://schemas.microsoft.com/office/drawing/2017/decorative" val="1"/>
              </a:ext>
            </a:extLst>
          </p:cNvPr>
          <p:cNvCxnSpPr>
            <a:cxnSpLocks/>
          </p:cNvCxnSpPr>
          <p:nvPr userDrawn="1"/>
        </p:nvCxnSpPr>
        <p:spPr>
          <a:xfrm>
            <a:off x="5408438"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38757A12-84CA-AE2B-64C2-92089CF5D72C}"/>
              </a:ext>
              <a:ext uri="{C183D7F6-B498-43B3-948B-1728B52AA6E4}">
                <adec:decorative xmlns:adec="http://schemas.microsoft.com/office/drawing/2017/decorative" val="1"/>
              </a:ext>
            </a:extLst>
          </p:cNvPr>
          <p:cNvGrpSpPr/>
          <p:nvPr userDrawn="1"/>
        </p:nvGrpSpPr>
        <p:grpSpPr>
          <a:xfrm>
            <a:off x="5436203" y="5337357"/>
            <a:ext cx="419609" cy="415995"/>
            <a:chOff x="6443026" y="2417970"/>
            <a:chExt cx="440787" cy="436990"/>
          </a:xfrm>
        </p:grpSpPr>
        <p:sp>
          <p:nvSpPr>
            <p:cNvPr id="93" name="Freeform: Shape 92">
              <a:extLst>
                <a:ext uri="{FF2B5EF4-FFF2-40B4-BE49-F238E27FC236}">
                  <a16:creationId xmlns:a16="http://schemas.microsoft.com/office/drawing/2014/main" id="{0EB194A2-013F-8781-755C-AB84D814D73B}"/>
                </a:ext>
              </a:extLst>
            </p:cNvPr>
            <p:cNvSpPr/>
            <p:nvPr/>
          </p:nvSpPr>
          <p:spPr>
            <a:xfrm>
              <a:off x="6443026" y="2417970"/>
              <a:ext cx="65476" cy="65476"/>
            </a:xfrm>
            <a:custGeom>
              <a:avLst/>
              <a:gdLst>
                <a:gd name="connsiteX0" fmla="*/ 0 w 65476"/>
                <a:gd name="connsiteY0" fmla="*/ 70715 h 65476"/>
                <a:gd name="connsiteX1" fmla="*/ 0 w 65476"/>
                <a:gd name="connsiteY1" fmla="*/ 0 h 65476"/>
                <a:gd name="connsiteX2" fmla="*/ 68226 w 65476"/>
                <a:gd name="connsiteY2" fmla="*/ 0 h 65476"/>
              </a:gdLst>
              <a:ahLst/>
              <a:cxnLst>
                <a:cxn ang="0">
                  <a:pos x="connsiteX0" y="connsiteY0"/>
                </a:cxn>
                <a:cxn ang="0">
                  <a:pos x="connsiteX1" y="connsiteY1"/>
                </a:cxn>
                <a:cxn ang="0">
                  <a:pos x="connsiteX2" y="connsiteY2"/>
                </a:cxn>
              </a:cxnLst>
              <a:rect l="l" t="t" r="r" b="b"/>
              <a:pathLst>
                <a:path w="65476" h="65476">
                  <a:moveTo>
                    <a:pt x="0" y="70715"/>
                  </a:moveTo>
                  <a:lnTo>
                    <a:pt x="0" y="0"/>
                  </a:lnTo>
                  <a:lnTo>
                    <a:pt x="68226"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94" name="Freeform: Shape 93">
              <a:extLst>
                <a:ext uri="{FF2B5EF4-FFF2-40B4-BE49-F238E27FC236}">
                  <a16:creationId xmlns:a16="http://schemas.microsoft.com/office/drawing/2014/main" id="{BD11FB61-E9FE-454C-95D8-186CB8CAEE9B}"/>
                </a:ext>
              </a:extLst>
            </p:cNvPr>
            <p:cNvSpPr/>
            <p:nvPr/>
          </p:nvSpPr>
          <p:spPr>
            <a:xfrm>
              <a:off x="6815849" y="2417970"/>
              <a:ext cx="65476" cy="65476"/>
            </a:xfrm>
            <a:custGeom>
              <a:avLst/>
              <a:gdLst>
                <a:gd name="connsiteX0" fmla="*/ 0 w 65476"/>
                <a:gd name="connsiteY0" fmla="*/ 0 h 65476"/>
                <a:gd name="connsiteX1" fmla="*/ 70846 w 65476"/>
                <a:gd name="connsiteY1" fmla="*/ 0 h 65476"/>
                <a:gd name="connsiteX2" fmla="*/ 70846 w 65476"/>
                <a:gd name="connsiteY2" fmla="*/ 68226 h 65476"/>
              </a:gdLst>
              <a:ahLst/>
              <a:cxnLst>
                <a:cxn ang="0">
                  <a:pos x="connsiteX0" y="connsiteY0"/>
                </a:cxn>
                <a:cxn ang="0">
                  <a:pos x="connsiteX1" y="connsiteY1"/>
                </a:cxn>
                <a:cxn ang="0">
                  <a:pos x="connsiteX2" y="connsiteY2"/>
                </a:cxn>
              </a:cxnLst>
              <a:rect l="l" t="t" r="r" b="b"/>
              <a:pathLst>
                <a:path w="65476" h="65476">
                  <a:moveTo>
                    <a:pt x="0" y="0"/>
                  </a:moveTo>
                  <a:lnTo>
                    <a:pt x="70846" y="0"/>
                  </a:lnTo>
                  <a:lnTo>
                    <a:pt x="70846" y="68226"/>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95" name="Freeform: Shape 94">
              <a:extLst>
                <a:ext uri="{FF2B5EF4-FFF2-40B4-BE49-F238E27FC236}">
                  <a16:creationId xmlns:a16="http://schemas.microsoft.com/office/drawing/2014/main" id="{25808660-7D71-81D3-D6F2-28C0FE0F1207}"/>
                </a:ext>
              </a:extLst>
            </p:cNvPr>
            <p:cNvSpPr/>
            <p:nvPr/>
          </p:nvSpPr>
          <p:spPr>
            <a:xfrm>
              <a:off x="6818337" y="2786996"/>
              <a:ext cx="65476" cy="65476"/>
            </a:xfrm>
            <a:custGeom>
              <a:avLst/>
              <a:gdLst>
                <a:gd name="connsiteX0" fmla="*/ 68357 w 65476"/>
                <a:gd name="connsiteY0" fmla="*/ 0 h 65476"/>
                <a:gd name="connsiteX1" fmla="*/ 68357 w 65476"/>
                <a:gd name="connsiteY1" fmla="*/ 70715 h 65476"/>
                <a:gd name="connsiteX2" fmla="*/ 0 w 65476"/>
                <a:gd name="connsiteY2" fmla="*/ 70715 h 65476"/>
              </a:gdLst>
              <a:ahLst/>
              <a:cxnLst>
                <a:cxn ang="0">
                  <a:pos x="connsiteX0" y="connsiteY0"/>
                </a:cxn>
                <a:cxn ang="0">
                  <a:pos x="connsiteX1" y="connsiteY1"/>
                </a:cxn>
                <a:cxn ang="0">
                  <a:pos x="connsiteX2" y="connsiteY2"/>
                </a:cxn>
              </a:cxnLst>
              <a:rect l="l" t="t" r="r" b="b"/>
              <a:pathLst>
                <a:path w="65476" h="65476">
                  <a:moveTo>
                    <a:pt x="68357" y="0"/>
                  </a:moveTo>
                  <a:lnTo>
                    <a:pt x="68357" y="70715"/>
                  </a:lnTo>
                  <a:lnTo>
                    <a:pt x="0" y="70715"/>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96" name="Freeform: Shape 95">
              <a:extLst>
                <a:ext uri="{FF2B5EF4-FFF2-40B4-BE49-F238E27FC236}">
                  <a16:creationId xmlns:a16="http://schemas.microsoft.com/office/drawing/2014/main" id="{11C26FD0-01CA-52A3-0D0F-C47CDA6D7BBD}"/>
                </a:ext>
              </a:extLst>
            </p:cNvPr>
            <p:cNvSpPr/>
            <p:nvPr/>
          </p:nvSpPr>
          <p:spPr>
            <a:xfrm>
              <a:off x="6443026" y="2789484"/>
              <a:ext cx="65476" cy="65476"/>
            </a:xfrm>
            <a:custGeom>
              <a:avLst/>
              <a:gdLst>
                <a:gd name="connsiteX0" fmla="*/ 70846 w 65476"/>
                <a:gd name="connsiteY0" fmla="*/ 68226 h 65476"/>
                <a:gd name="connsiteX1" fmla="*/ 0 w 65476"/>
                <a:gd name="connsiteY1" fmla="*/ 68226 h 65476"/>
                <a:gd name="connsiteX2" fmla="*/ 0 w 65476"/>
                <a:gd name="connsiteY2" fmla="*/ 0 h 65476"/>
              </a:gdLst>
              <a:ahLst/>
              <a:cxnLst>
                <a:cxn ang="0">
                  <a:pos x="connsiteX0" y="connsiteY0"/>
                </a:cxn>
                <a:cxn ang="0">
                  <a:pos x="connsiteX1" y="connsiteY1"/>
                </a:cxn>
                <a:cxn ang="0">
                  <a:pos x="connsiteX2" y="connsiteY2"/>
                </a:cxn>
              </a:cxnLst>
              <a:rect l="l" t="t" r="r" b="b"/>
              <a:pathLst>
                <a:path w="65476" h="65476">
                  <a:moveTo>
                    <a:pt x="70846" y="68226"/>
                  </a:moveTo>
                  <a:lnTo>
                    <a:pt x="0" y="68226"/>
                  </a:lnTo>
                  <a:lnTo>
                    <a:pt x="0"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97" name="Freeform: Shape 96">
              <a:extLst>
                <a:ext uri="{FF2B5EF4-FFF2-40B4-BE49-F238E27FC236}">
                  <a16:creationId xmlns:a16="http://schemas.microsoft.com/office/drawing/2014/main" id="{8C93533C-3182-4C11-1382-F1D0DA318F76}"/>
                </a:ext>
              </a:extLst>
            </p:cNvPr>
            <p:cNvSpPr/>
            <p:nvPr/>
          </p:nvSpPr>
          <p:spPr>
            <a:xfrm>
              <a:off x="6554205" y="2635352"/>
              <a:ext cx="209525" cy="13095"/>
            </a:xfrm>
            <a:custGeom>
              <a:avLst/>
              <a:gdLst>
                <a:gd name="connsiteX0" fmla="*/ 0 w 209524"/>
                <a:gd name="connsiteY0" fmla="*/ 0 h 0"/>
                <a:gd name="connsiteX1" fmla="*/ 222489 w 209524"/>
                <a:gd name="connsiteY1" fmla="*/ 0 h 0"/>
              </a:gdLst>
              <a:ahLst/>
              <a:cxnLst>
                <a:cxn ang="0">
                  <a:pos x="connsiteX0" y="connsiteY0"/>
                </a:cxn>
                <a:cxn ang="0">
                  <a:pos x="connsiteX1" y="connsiteY1"/>
                </a:cxn>
              </a:cxnLst>
              <a:rect l="l" t="t" r="r" b="b"/>
              <a:pathLst>
                <a:path w="209524">
                  <a:moveTo>
                    <a:pt x="0" y="0"/>
                  </a:moveTo>
                  <a:lnTo>
                    <a:pt x="222489"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sp>
          <p:nvSpPr>
            <p:cNvPr id="98" name="Freeform: Shape 97">
              <a:extLst>
                <a:ext uri="{FF2B5EF4-FFF2-40B4-BE49-F238E27FC236}">
                  <a16:creationId xmlns:a16="http://schemas.microsoft.com/office/drawing/2014/main" id="{141199C7-1575-724C-1DA6-3A589A4B3040}"/>
                </a:ext>
              </a:extLst>
            </p:cNvPr>
            <p:cNvSpPr/>
            <p:nvPr/>
          </p:nvSpPr>
          <p:spPr>
            <a:xfrm>
              <a:off x="6665515" y="2524173"/>
              <a:ext cx="13095" cy="209525"/>
            </a:xfrm>
            <a:custGeom>
              <a:avLst/>
              <a:gdLst>
                <a:gd name="connsiteX0" fmla="*/ 0 w 0"/>
                <a:gd name="connsiteY0" fmla="*/ 222358 h 209524"/>
                <a:gd name="connsiteX1" fmla="*/ 0 w 0"/>
                <a:gd name="connsiteY1" fmla="*/ 0 h 209524"/>
              </a:gdLst>
              <a:ahLst/>
              <a:cxnLst>
                <a:cxn ang="0">
                  <a:pos x="connsiteX0" y="connsiteY0"/>
                </a:cxn>
                <a:cxn ang="0">
                  <a:pos x="connsiteX1" y="connsiteY1"/>
                </a:cxn>
              </a:cxnLst>
              <a:rect l="l" t="t" r="r" b="b"/>
              <a:pathLst>
                <a:path h="209524">
                  <a:moveTo>
                    <a:pt x="0" y="222358"/>
                  </a:moveTo>
                  <a:lnTo>
                    <a:pt x="0"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grpSp>
      <p:cxnSp>
        <p:nvCxnSpPr>
          <p:cNvPr id="99" name="Straight Connector 98">
            <a:extLst>
              <a:ext uri="{FF2B5EF4-FFF2-40B4-BE49-F238E27FC236}">
                <a16:creationId xmlns:a16="http://schemas.microsoft.com/office/drawing/2014/main" id="{37401907-43F1-75B6-39B4-1A0F01EAA5DD}"/>
              </a:ext>
              <a:ext uri="{C183D7F6-B498-43B3-948B-1728B52AA6E4}">
                <adec:decorative xmlns:adec="http://schemas.microsoft.com/office/drawing/2017/decorative" val="1"/>
              </a:ext>
            </a:extLst>
          </p:cNvPr>
          <p:cNvCxnSpPr>
            <a:cxnSpLocks/>
          </p:cNvCxnSpPr>
          <p:nvPr userDrawn="1"/>
        </p:nvCxnSpPr>
        <p:spPr>
          <a:xfrm>
            <a:off x="783313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Freeform: Shape 99">
            <a:extLst>
              <a:ext uri="{FF2B5EF4-FFF2-40B4-BE49-F238E27FC236}">
                <a16:creationId xmlns:a16="http://schemas.microsoft.com/office/drawing/2014/main" id="{354BCBBD-6EDB-5C5C-018B-A1B61B97E5CE}"/>
              </a:ext>
              <a:ext uri="{C183D7F6-B498-43B3-948B-1728B52AA6E4}">
                <adec:decorative xmlns:adec="http://schemas.microsoft.com/office/drawing/2017/decorative" val="1"/>
              </a:ext>
            </a:extLst>
          </p:cNvPr>
          <p:cNvSpPr/>
          <p:nvPr userDrawn="1"/>
        </p:nvSpPr>
        <p:spPr>
          <a:xfrm>
            <a:off x="7840711" y="5367961"/>
            <a:ext cx="459983" cy="385391"/>
          </a:xfrm>
          <a:custGeom>
            <a:avLst/>
            <a:gdLst>
              <a:gd name="connsiteX0" fmla="*/ 348104 w 352425"/>
              <a:gd name="connsiteY0" fmla="*/ 128975 h 295275"/>
              <a:gd name="connsiteX1" fmla="*/ 178844 w 352425"/>
              <a:gd name="connsiteY1" fmla="*/ 295472 h 295275"/>
              <a:gd name="connsiteX2" fmla="*/ 9680 w 352425"/>
              <a:gd name="connsiteY2" fmla="*/ 128975 h 295275"/>
              <a:gd name="connsiteX3" fmla="*/ 56924 w 352425"/>
              <a:gd name="connsiteY3" fmla="*/ 7817 h 295275"/>
              <a:gd name="connsiteX4" fmla="*/ 178082 w 352425"/>
              <a:gd name="connsiteY4" fmla="*/ 55061 h 295275"/>
              <a:gd name="connsiteX5" fmla="*/ 179606 w 352425"/>
              <a:gd name="connsiteY5" fmla="*/ 55061 h 295275"/>
              <a:gd name="connsiteX6" fmla="*/ 300860 w 352425"/>
              <a:gd name="connsiteY6" fmla="*/ 7817 h 295275"/>
              <a:gd name="connsiteX7" fmla="*/ 348104 w 352425"/>
              <a:gd name="connsiteY7" fmla="*/ 1289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295275">
                <a:moveTo>
                  <a:pt x="348104" y="128975"/>
                </a:moveTo>
                <a:cubicBezTo>
                  <a:pt x="298478" y="219462"/>
                  <a:pt x="178844" y="295472"/>
                  <a:pt x="178844" y="295472"/>
                </a:cubicBezTo>
                <a:cubicBezTo>
                  <a:pt x="178844" y="295472"/>
                  <a:pt x="60734" y="219843"/>
                  <a:pt x="9680" y="128975"/>
                </a:cubicBezTo>
                <a:cubicBezTo>
                  <a:pt x="-15180" y="84779"/>
                  <a:pt x="10442" y="28200"/>
                  <a:pt x="56924" y="7817"/>
                </a:cubicBezTo>
                <a:cubicBezTo>
                  <a:pt x="103502" y="-12567"/>
                  <a:pt x="157699" y="8579"/>
                  <a:pt x="178082" y="55061"/>
                </a:cubicBezTo>
                <a:cubicBezTo>
                  <a:pt x="178368" y="55632"/>
                  <a:pt x="179321" y="55632"/>
                  <a:pt x="179606" y="55061"/>
                </a:cubicBezTo>
                <a:cubicBezTo>
                  <a:pt x="199990" y="8484"/>
                  <a:pt x="254282" y="-12662"/>
                  <a:pt x="300860" y="7817"/>
                </a:cubicBezTo>
                <a:cubicBezTo>
                  <a:pt x="347342" y="28200"/>
                  <a:pt x="372488" y="84493"/>
                  <a:pt x="348104" y="128975"/>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cxnSp>
        <p:nvCxnSpPr>
          <p:cNvPr id="101" name="Straight Connector 100">
            <a:extLst>
              <a:ext uri="{FF2B5EF4-FFF2-40B4-BE49-F238E27FC236}">
                <a16:creationId xmlns:a16="http://schemas.microsoft.com/office/drawing/2014/main" id="{644C1E4A-FBFA-78A4-8B42-386D7419FAED}"/>
              </a:ext>
              <a:ext uri="{C183D7F6-B498-43B3-948B-1728B52AA6E4}">
                <adec:decorative xmlns:adec="http://schemas.microsoft.com/office/drawing/2017/decorative" val="1"/>
              </a:ext>
            </a:extLst>
          </p:cNvPr>
          <p:cNvCxnSpPr>
            <a:cxnSpLocks/>
          </p:cNvCxnSpPr>
          <p:nvPr userDrawn="1"/>
        </p:nvCxnSpPr>
        <p:spPr>
          <a:xfrm>
            <a:off x="10257827"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513189C8-4A17-8BEC-963C-45B8C5E09E9E}"/>
              </a:ext>
              <a:ext uri="{C183D7F6-B498-43B3-948B-1728B52AA6E4}">
                <adec:decorative xmlns:adec="http://schemas.microsoft.com/office/drawing/2017/decorative" val="1"/>
              </a:ext>
            </a:extLst>
          </p:cNvPr>
          <p:cNvGrpSpPr/>
          <p:nvPr userDrawn="1"/>
        </p:nvGrpSpPr>
        <p:grpSpPr>
          <a:xfrm>
            <a:off x="10277836" y="5369827"/>
            <a:ext cx="435119" cy="383525"/>
            <a:chOff x="5055450" y="4606241"/>
            <a:chExt cx="457080" cy="402882"/>
          </a:xfrm>
        </p:grpSpPr>
        <p:sp>
          <p:nvSpPr>
            <p:cNvPr id="103" name="Freeform: Shape 102">
              <a:extLst>
                <a:ext uri="{FF2B5EF4-FFF2-40B4-BE49-F238E27FC236}">
                  <a16:creationId xmlns:a16="http://schemas.microsoft.com/office/drawing/2014/main" id="{E678D0F5-883C-1DBC-D7E3-A7126DE8A65B}"/>
                </a:ext>
              </a:extLst>
            </p:cNvPr>
            <p:cNvSpPr/>
            <p:nvPr/>
          </p:nvSpPr>
          <p:spPr>
            <a:xfrm>
              <a:off x="5055450" y="4606241"/>
              <a:ext cx="457080" cy="222010"/>
            </a:xfrm>
            <a:custGeom>
              <a:avLst/>
              <a:gdLst>
                <a:gd name="connsiteX0" fmla="*/ 0 w 333375"/>
                <a:gd name="connsiteY0" fmla="*/ 166973 h 161925"/>
                <a:gd name="connsiteX1" fmla="*/ 166973 w 333375"/>
                <a:gd name="connsiteY1" fmla="*/ 0 h 161925"/>
                <a:gd name="connsiteX2" fmla="*/ 334042 w 333375"/>
                <a:gd name="connsiteY2" fmla="*/ 166973 h 161925"/>
              </a:gdLst>
              <a:ahLst/>
              <a:cxnLst>
                <a:cxn ang="0">
                  <a:pos x="connsiteX0" y="connsiteY0"/>
                </a:cxn>
                <a:cxn ang="0">
                  <a:pos x="connsiteX1" y="connsiteY1"/>
                </a:cxn>
                <a:cxn ang="0">
                  <a:pos x="connsiteX2" y="connsiteY2"/>
                </a:cxn>
              </a:cxnLst>
              <a:rect l="l" t="t" r="r" b="b"/>
              <a:pathLst>
                <a:path w="333375" h="161925">
                  <a:moveTo>
                    <a:pt x="0" y="166973"/>
                  </a:moveTo>
                  <a:lnTo>
                    <a:pt x="166973" y="0"/>
                  </a:lnTo>
                  <a:lnTo>
                    <a:pt x="334042" y="166973"/>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04" name="Freeform: Shape 103">
              <a:extLst>
                <a:ext uri="{FF2B5EF4-FFF2-40B4-BE49-F238E27FC236}">
                  <a16:creationId xmlns:a16="http://schemas.microsoft.com/office/drawing/2014/main" id="{B9A67F64-C8A1-FFF2-F044-176243794D99}"/>
                </a:ext>
              </a:extLst>
            </p:cNvPr>
            <p:cNvSpPr/>
            <p:nvPr/>
          </p:nvSpPr>
          <p:spPr>
            <a:xfrm>
              <a:off x="5055450" y="4696612"/>
              <a:ext cx="457080" cy="222010"/>
            </a:xfrm>
            <a:custGeom>
              <a:avLst/>
              <a:gdLst>
                <a:gd name="connsiteX0" fmla="*/ 0 w 333375"/>
                <a:gd name="connsiteY0" fmla="*/ 167069 h 161925"/>
                <a:gd name="connsiteX1" fmla="*/ 166973 w 333375"/>
                <a:gd name="connsiteY1" fmla="*/ 0 h 161925"/>
                <a:gd name="connsiteX2" fmla="*/ 334042 w 333375"/>
                <a:gd name="connsiteY2" fmla="*/ 167069 h 161925"/>
              </a:gdLst>
              <a:ahLst/>
              <a:cxnLst>
                <a:cxn ang="0">
                  <a:pos x="connsiteX0" y="connsiteY0"/>
                </a:cxn>
                <a:cxn ang="0">
                  <a:pos x="connsiteX1" y="connsiteY1"/>
                </a:cxn>
                <a:cxn ang="0">
                  <a:pos x="connsiteX2" y="connsiteY2"/>
                </a:cxn>
              </a:cxnLst>
              <a:rect l="l" t="t" r="r" b="b"/>
              <a:pathLst>
                <a:path w="333375" h="161925">
                  <a:moveTo>
                    <a:pt x="0" y="167069"/>
                  </a:moveTo>
                  <a:lnTo>
                    <a:pt x="166973" y="0"/>
                  </a:lnTo>
                  <a:lnTo>
                    <a:pt x="334042" y="167069"/>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05" name="Freeform: Shape 104">
              <a:extLst>
                <a:ext uri="{FF2B5EF4-FFF2-40B4-BE49-F238E27FC236}">
                  <a16:creationId xmlns:a16="http://schemas.microsoft.com/office/drawing/2014/main" id="{CF2BE612-BA59-00CC-6522-19D8A0AB28AA}"/>
                </a:ext>
              </a:extLst>
            </p:cNvPr>
            <p:cNvSpPr/>
            <p:nvPr/>
          </p:nvSpPr>
          <p:spPr>
            <a:xfrm>
              <a:off x="5055450" y="4787113"/>
              <a:ext cx="457080" cy="222010"/>
            </a:xfrm>
            <a:custGeom>
              <a:avLst/>
              <a:gdLst>
                <a:gd name="connsiteX0" fmla="*/ 0 w 333375"/>
                <a:gd name="connsiteY0" fmla="*/ 167068 h 161925"/>
                <a:gd name="connsiteX1" fmla="*/ 166973 w 333375"/>
                <a:gd name="connsiteY1" fmla="*/ 0 h 161925"/>
                <a:gd name="connsiteX2" fmla="*/ 334042 w 333375"/>
                <a:gd name="connsiteY2" fmla="*/ 167068 h 161925"/>
              </a:gdLst>
              <a:ahLst/>
              <a:cxnLst>
                <a:cxn ang="0">
                  <a:pos x="connsiteX0" y="connsiteY0"/>
                </a:cxn>
                <a:cxn ang="0">
                  <a:pos x="connsiteX1" y="connsiteY1"/>
                </a:cxn>
                <a:cxn ang="0">
                  <a:pos x="connsiteX2" y="connsiteY2"/>
                </a:cxn>
              </a:cxnLst>
              <a:rect l="l" t="t" r="r" b="b"/>
              <a:pathLst>
                <a:path w="333375" h="161925">
                  <a:moveTo>
                    <a:pt x="0" y="167068"/>
                  </a:moveTo>
                  <a:lnTo>
                    <a:pt x="166973" y="0"/>
                  </a:lnTo>
                  <a:lnTo>
                    <a:pt x="334042" y="167068"/>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grpSp>
      <p:cxnSp>
        <p:nvCxnSpPr>
          <p:cNvPr id="106" name="Straight Connector 105">
            <a:extLst>
              <a:ext uri="{FF2B5EF4-FFF2-40B4-BE49-F238E27FC236}">
                <a16:creationId xmlns:a16="http://schemas.microsoft.com/office/drawing/2014/main" id="{05596718-6ADD-9097-D319-E1B1D4DC0C8A}"/>
              </a:ext>
              <a:ext uri="{C183D7F6-B498-43B3-948B-1728B52AA6E4}">
                <adec:decorative xmlns:adec="http://schemas.microsoft.com/office/drawing/2017/decorative" val="1"/>
              </a:ext>
            </a:extLst>
          </p:cNvPr>
          <p:cNvCxnSpPr>
            <a:cxnSpLocks/>
          </p:cNvCxnSpPr>
          <p:nvPr userDrawn="1"/>
        </p:nvCxnSpPr>
        <p:spPr>
          <a:xfrm>
            <a:off x="542647" y="2556620"/>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CD5BEAD-FFE1-6FD5-1A84-5D1AED3D5954}"/>
              </a:ext>
              <a:ext uri="{C183D7F6-B498-43B3-948B-1728B52AA6E4}">
                <adec:decorative xmlns:adec="http://schemas.microsoft.com/office/drawing/2017/decorative" val="1"/>
              </a:ext>
            </a:extLst>
          </p:cNvPr>
          <p:cNvCxnSpPr>
            <a:cxnSpLocks/>
          </p:cNvCxnSpPr>
          <p:nvPr userDrawn="1"/>
        </p:nvCxnSpPr>
        <p:spPr>
          <a:xfrm>
            <a:off x="542647" y="3236898"/>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ABD85CD-88AC-EBF8-C4A4-7A06CCF0C444}"/>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109" name="TextBox 108">
            <a:extLst>
              <a:ext uri="{FF2B5EF4-FFF2-40B4-BE49-F238E27FC236}">
                <a16:creationId xmlns:a16="http://schemas.microsoft.com/office/drawing/2014/main" id="{C16BB024-5DFC-6AC7-3C8F-07BCAED7C974}"/>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33" name="Title 3">
            <a:extLst>
              <a:ext uri="{FF2B5EF4-FFF2-40B4-BE49-F238E27FC236}">
                <a16:creationId xmlns:a16="http://schemas.microsoft.com/office/drawing/2014/main" id="{256076FF-DAD0-BCB9-7F3E-3C91DAD19B89}"/>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lvl="0"/>
            <a:r>
              <a:rPr lang="en-US" cap="none" baseline="0" dirty="0">
                <a:solidFill>
                  <a:schemeClr val="bg1"/>
                </a:solidFill>
              </a:rPr>
              <a:t>Who we are</a:t>
            </a:r>
          </a:p>
        </p:txBody>
      </p:sp>
      <p:sp>
        <p:nvSpPr>
          <p:cNvPr id="134" name="Title 3">
            <a:extLst>
              <a:ext uri="{FF2B5EF4-FFF2-40B4-BE49-F238E27FC236}">
                <a16:creationId xmlns:a16="http://schemas.microsoft.com/office/drawing/2014/main" id="{F7F976E8-B24C-5E2E-E549-A22EFB2F3B88}"/>
              </a:ext>
            </a:extLst>
          </p:cNvPr>
          <p:cNvSpPr txBox="1">
            <a:spLocks/>
          </p:cNvSpPr>
          <p:nvPr userDrawn="1"/>
        </p:nvSpPr>
        <p:spPr>
          <a:xfrm>
            <a:off x="559048" y="1355053"/>
            <a:ext cx="3207561" cy="36230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cap="none" baseline="0" dirty="0">
                <a:solidFill>
                  <a:schemeClr val="bg1"/>
                </a:solidFill>
                <a:ea typeface="Verdana" panose="020B0604030504040204" pitchFamily="34" charset="0"/>
                <a:cs typeface="Calibri" panose="020F0502020204030204" pitchFamily="34" charset="0"/>
              </a:rPr>
              <a:t>Innovators</a:t>
            </a:r>
          </a:p>
        </p:txBody>
      </p:sp>
      <p:sp>
        <p:nvSpPr>
          <p:cNvPr id="135" name="Content Placeholder 7">
            <a:extLst>
              <a:ext uri="{FF2B5EF4-FFF2-40B4-BE49-F238E27FC236}">
                <a16:creationId xmlns:a16="http://schemas.microsoft.com/office/drawing/2014/main" id="{FEF24CF4-50B3-CF56-EE5D-EA292618402C}"/>
              </a:ext>
              <a:ext uri="{C183D7F6-B498-43B3-948B-1728B52AA6E4}">
                <adec:decorative xmlns:adec="http://schemas.microsoft.com/office/drawing/2017/decorative" val="0"/>
              </a:ext>
            </a:extLst>
          </p:cNvPr>
          <p:cNvSpPr txBox="1">
            <a:spLocks/>
          </p:cNvSpPr>
          <p:nvPr userDrawn="1"/>
        </p:nvSpPr>
        <p:spPr>
          <a:xfrm>
            <a:off x="3899574" y="1284408"/>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are innovators who combine a disruptive, design-thinking approach with unrivalled, first-hand industry knowledge and technology acumen.</a:t>
            </a:r>
          </a:p>
        </p:txBody>
      </p:sp>
      <p:sp>
        <p:nvSpPr>
          <p:cNvPr id="136" name="Title 3">
            <a:extLst>
              <a:ext uri="{FF2B5EF4-FFF2-40B4-BE49-F238E27FC236}">
                <a16:creationId xmlns:a16="http://schemas.microsoft.com/office/drawing/2014/main" id="{34626EF2-9B17-8924-3620-60F14B4564E5}"/>
              </a:ext>
            </a:extLst>
          </p:cNvPr>
          <p:cNvSpPr txBox="1">
            <a:spLocks/>
          </p:cNvSpPr>
          <p:nvPr userDrawn="1"/>
        </p:nvSpPr>
        <p:spPr>
          <a:xfrm>
            <a:off x="559048" y="2051852"/>
            <a:ext cx="3207561" cy="329259"/>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cap="none" baseline="0" dirty="0">
                <a:solidFill>
                  <a:schemeClr val="accent1"/>
                </a:solidFill>
                <a:ea typeface="Verdana" panose="020B0604030504040204" pitchFamily="34" charset="0"/>
                <a:cs typeface="Calibri" panose="020F0502020204030204" pitchFamily="34" charset="0"/>
              </a:rPr>
              <a:t>Facilitators</a:t>
            </a:r>
          </a:p>
        </p:txBody>
      </p:sp>
      <p:sp>
        <p:nvSpPr>
          <p:cNvPr id="137" name="Content Placeholder 7">
            <a:extLst>
              <a:ext uri="{FF2B5EF4-FFF2-40B4-BE49-F238E27FC236}">
                <a16:creationId xmlns:a16="http://schemas.microsoft.com/office/drawing/2014/main" id="{04087C35-91E2-ABE4-D864-40FA938BE9F0}"/>
              </a:ext>
            </a:extLst>
          </p:cNvPr>
          <p:cNvSpPr txBox="1">
            <a:spLocks/>
          </p:cNvSpPr>
          <p:nvPr userDrawn="1"/>
        </p:nvSpPr>
        <p:spPr>
          <a:xfrm>
            <a:off x="3899573" y="1964686"/>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facilitate the handshake between the business and technology organizations to deliver end-to-end consulting services and solutions.</a:t>
            </a:r>
          </a:p>
        </p:txBody>
      </p:sp>
      <p:sp>
        <p:nvSpPr>
          <p:cNvPr id="138" name="Title 3">
            <a:extLst>
              <a:ext uri="{FF2B5EF4-FFF2-40B4-BE49-F238E27FC236}">
                <a16:creationId xmlns:a16="http://schemas.microsoft.com/office/drawing/2014/main" id="{7230501C-9D9A-9888-A605-6EADC13A9865}"/>
              </a:ext>
            </a:extLst>
          </p:cNvPr>
          <p:cNvSpPr txBox="1">
            <a:spLocks/>
          </p:cNvSpPr>
          <p:nvPr userDrawn="1"/>
        </p:nvSpPr>
        <p:spPr>
          <a:xfrm>
            <a:off x="559048" y="2717034"/>
            <a:ext cx="3207561" cy="35945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cap="none" baseline="0" dirty="0">
                <a:solidFill>
                  <a:schemeClr val="bg1"/>
                </a:solidFill>
                <a:ea typeface="Verdana" panose="020B0604030504040204" pitchFamily="34" charset="0"/>
                <a:cs typeface="Calibri" panose="020F0502020204030204" pitchFamily="34" charset="0"/>
              </a:rPr>
              <a:t>Change Ambassadors</a:t>
            </a:r>
          </a:p>
        </p:txBody>
      </p:sp>
      <p:sp>
        <p:nvSpPr>
          <p:cNvPr id="139" name="Content Placeholder 7">
            <a:extLst>
              <a:ext uri="{FF2B5EF4-FFF2-40B4-BE49-F238E27FC236}">
                <a16:creationId xmlns:a16="http://schemas.microsoft.com/office/drawing/2014/main" id="{C0FF40F2-9626-113D-237D-17F48022D28B}"/>
              </a:ext>
            </a:extLst>
          </p:cNvPr>
          <p:cNvSpPr txBox="1">
            <a:spLocks/>
          </p:cNvSpPr>
          <p:nvPr userDrawn="1"/>
        </p:nvSpPr>
        <p:spPr>
          <a:xfrm>
            <a:off x="3899573" y="2644964"/>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embrace new ways of working, and have a desire to work with our clients to pivot their capabilities and culture.</a:t>
            </a:r>
          </a:p>
        </p:txBody>
      </p:sp>
      <p:sp>
        <p:nvSpPr>
          <p:cNvPr id="140" name="Title 3">
            <a:extLst>
              <a:ext uri="{FF2B5EF4-FFF2-40B4-BE49-F238E27FC236}">
                <a16:creationId xmlns:a16="http://schemas.microsoft.com/office/drawing/2014/main" id="{E5E6D70D-8EF0-A560-A569-16D639A2E059}"/>
              </a:ext>
            </a:extLst>
          </p:cNvPr>
          <p:cNvSpPr txBox="1">
            <a:spLocks/>
          </p:cNvSpPr>
          <p:nvPr userDrawn="1"/>
        </p:nvSpPr>
        <p:spPr>
          <a:xfrm>
            <a:off x="559048" y="3396530"/>
            <a:ext cx="3223962" cy="361017"/>
          </a:xfrm>
          <a:prstGeom prst="rect">
            <a:avLst/>
          </a:prstGeom>
        </p:spPr>
        <p:txBody>
          <a:bodyPr wrap="square"/>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cap="none" baseline="0" dirty="0">
                <a:solidFill>
                  <a:schemeClr val="accent1"/>
                </a:solidFill>
                <a:ea typeface="Verdana" panose="020B0604030504040204" pitchFamily="34" charset="0"/>
                <a:cs typeface="Calibri" panose="020F0502020204030204" pitchFamily="34" charset="0"/>
              </a:rPr>
              <a:t>Transformation Specialists</a:t>
            </a:r>
          </a:p>
        </p:txBody>
      </p:sp>
      <p:sp>
        <p:nvSpPr>
          <p:cNvPr id="141" name="Content Placeholder 7">
            <a:extLst>
              <a:ext uri="{FF2B5EF4-FFF2-40B4-BE49-F238E27FC236}">
                <a16:creationId xmlns:a16="http://schemas.microsoft.com/office/drawing/2014/main" id="{0ECD20D3-D07D-B007-B978-7740942AC969}"/>
              </a:ext>
            </a:extLst>
          </p:cNvPr>
          <p:cNvSpPr txBox="1">
            <a:spLocks/>
          </p:cNvSpPr>
          <p:nvPr userDrawn="1"/>
        </p:nvSpPr>
        <p:spPr>
          <a:xfrm>
            <a:off x="3899573" y="3325243"/>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help our clients transform and advance their businesses, capitalize on digital opportunities, increase revenue, manage risk and regulatory change.</a:t>
            </a:r>
          </a:p>
        </p:txBody>
      </p:sp>
      <p:sp>
        <p:nvSpPr>
          <p:cNvPr id="26" name="Rectangle 25">
            <a:extLst>
              <a:ext uri="{FF2B5EF4-FFF2-40B4-BE49-F238E27FC236}">
                <a16:creationId xmlns:a16="http://schemas.microsoft.com/office/drawing/2014/main" id="{799CF838-7DB4-4CE0-6348-791DCFCAAB74}"/>
              </a:ext>
              <a:ext uri="{C183D7F6-B498-43B3-948B-1728B52AA6E4}">
                <adec:decorative xmlns:adec="http://schemas.microsoft.com/office/drawing/2017/decorative" val="1"/>
              </a:ext>
            </a:extLst>
          </p:cNvPr>
          <p:cNvSpPr/>
          <p:nvPr userDrawn="1"/>
        </p:nvSpPr>
        <p:spPr>
          <a:xfrm>
            <a:off x="0" y="4069721"/>
            <a:ext cx="12192000" cy="98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2" name="Group 31" descr="founded in 1998">
            <a:extLst>
              <a:ext uri="{FF2B5EF4-FFF2-40B4-BE49-F238E27FC236}">
                <a16:creationId xmlns:a16="http://schemas.microsoft.com/office/drawing/2014/main" id="{35461C67-7A5E-EC45-1782-4B0D138C8FC7}"/>
              </a:ext>
            </a:extLst>
          </p:cNvPr>
          <p:cNvGrpSpPr/>
          <p:nvPr userDrawn="1"/>
        </p:nvGrpSpPr>
        <p:grpSpPr>
          <a:xfrm>
            <a:off x="631097" y="4096840"/>
            <a:ext cx="1284982" cy="847554"/>
            <a:chOff x="631098" y="3789723"/>
            <a:chExt cx="1284982" cy="847554"/>
          </a:xfrm>
        </p:grpSpPr>
        <p:sp>
          <p:nvSpPr>
            <p:cNvPr id="33" name="TextBox 32">
              <a:extLst>
                <a:ext uri="{FF2B5EF4-FFF2-40B4-BE49-F238E27FC236}">
                  <a16:creationId xmlns:a16="http://schemas.microsoft.com/office/drawing/2014/main" id="{EED4AB50-5FB6-579F-F8FD-6F39B0AAB729}"/>
                </a:ext>
              </a:extLst>
            </p:cNvPr>
            <p:cNvSpPr txBox="1"/>
            <p:nvPr/>
          </p:nvSpPr>
          <p:spPr>
            <a:xfrm>
              <a:off x="631098" y="3789723"/>
              <a:ext cx="1284982" cy="677108"/>
            </a:xfrm>
            <a:prstGeom prst="rect">
              <a:avLst/>
            </a:prstGeom>
            <a:noFill/>
            <a:ln>
              <a:noFill/>
            </a:ln>
          </p:spPr>
          <p:txBody>
            <a:bodyPr wrap="square" lIns="0" tIns="0" rIns="0" bIns="0" rtlCol="0">
              <a:spAutoFit/>
            </a:bodyPr>
            <a:lstStyle/>
            <a:p>
              <a:pPr algn="l"/>
              <a:r>
                <a:rPr lang="en-US" sz="4400" b="1" i="0" dirty="0">
                  <a:solidFill>
                    <a:schemeClr val="tx1"/>
                  </a:solidFill>
                  <a:latin typeface="Century Gothic" panose="020B0502020202020204" pitchFamily="34" charset="0"/>
                </a:rPr>
                <a:t>1998</a:t>
              </a:r>
              <a:endParaRPr lang="en-GB" sz="4400" b="1" i="0" dirty="0">
                <a:solidFill>
                  <a:schemeClr val="tx1"/>
                </a:solidFill>
                <a:latin typeface="Century Gothic" panose="020B0502020202020204" pitchFamily="34" charset="0"/>
              </a:endParaRPr>
            </a:p>
          </p:txBody>
        </p:sp>
        <p:sp>
          <p:nvSpPr>
            <p:cNvPr id="34" name="TextBox 33">
              <a:extLst>
                <a:ext uri="{FF2B5EF4-FFF2-40B4-BE49-F238E27FC236}">
                  <a16:creationId xmlns:a16="http://schemas.microsoft.com/office/drawing/2014/main" id="{3EE9F575-F26F-F305-818B-047098207CBB}"/>
                </a:ext>
              </a:extLst>
            </p:cNvPr>
            <p:cNvSpPr txBox="1"/>
            <p:nvPr/>
          </p:nvSpPr>
          <p:spPr>
            <a:xfrm>
              <a:off x="722384" y="4360278"/>
              <a:ext cx="1126839" cy="276999"/>
            </a:xfrm>
            <a:prstGeom prst="rect">
              <a:avLst/>
            </a:prstGeom>
            <a:noFill/>
            <a:ln>
              <a:noFill/>
            </a:ln>
          </p:spPr>
          <p:txBody>
            <a:bodyPr wrap="square" lIns="0" tIns="0" rIns="0" bIns="0" rtlCol="0">
              <a:spAutoFit/>
            </a:bodyPr>
            <a:lstStyle/>
            <a:p>
              <a:pPr algn="l"/>
              <a:r>
                <a:rPr lang="sk-SK" i="0" dirty="0">
                  <a:solidFill>
                    <a:schemeClr val="tx1"/>
                  </a:solidFill>
                  <a:latin typeface="Century Gothic" panose="020B0502020202020204" pitchFamily="34" charset="0"/>
                </a:rPr>
                <a:t>FOUNDED</a:t>
              </a:r>
              <a:endParaRPr lang="en-GB" i="0" dirty="0">
                <a:solidFill>
                  <a:schemeClr val="tx1"/>
                </a:solidFill>
                <a:latin typeface="Century Gothic" panose="020B0502020202020204" pitchFamily="34" charset="0"/>
              </a:endParaRPr>
            </a:p>
          </p:txBody>
        </p:sp>
      </p:grpSp>
      <p:grpSp>
        <p:nvGrpSpPr>
          <p:cNvPr id="35" name="Group 34" descr="37 worldwide offices across 4 continents">
            <a:extLst>
              <a:ext uri="{FF2B5EF4-FFF2-40B4-BE49-F238E27FC236}">
                <a16:creationId xmlns:a16="http://schemas.microsoft.com/office/drawing/2014/main" id="{E18E37B3-5E9A-0D59-565B-435FEA8B7D6C}"/>
              </a:ext>
            </a:extLst>
          </p:cNvPr>
          <p:cNvGrpSpPr/>
          <p:nvPr userDrawn="1"/>
        </p:nvGrpSpPr>
        <p:grpSpPr>
          <a:xfrm>
            <a:off x="2393711" y="4183076"/>
            <a:ext cx="3048767" cy="738664"/>
            <a:chOff x="2419726" y="3853396"/>
            <a:chExt cx="3048767" cy="738664"/>
          </a:xfrm>
        </p:grpSpPr>
        <p:sp>
          <p:nvSpPr>
            <p:cNvPr id="36" name="TextBox 35">
              <a:extLst>
                <a:ext uri="{FF2B5EF4-FFF2-40B4-BE49-F238E27FC236}">
                  <a16:creationId xmlns:a16="http://schemas.microsoft.com/office/drawing/2014/main" id="{3882BA10-E76C-4247-4F5B-C04AB92BFDEB}"/>
                </a:ext>
              </a:extLst>
            </p:cNvPr>
            <p:cNvSpPr txBox="1"/>
            <p:nvPr/>
          </p:nvSpPr>
          <p:spPr>
            <a:xfrm>
              <a:off x="2419726" y="3853396"/>
              <a:ext cx="1095089" cy="738664"/>
            </a:xfrm>
            <a:prstGeom prst="rect">
              <a:avLst/>
            </a:prstGeom>
            <a:noFill/>
            <a:ln>
              <a:noFill/>
            </a:ln>
          </p:spPr>
          <p:txBody>
            <a:bodyPr wrap="square" lIns="0" tIns="0" rIns="0" bIns="0" rtlCol="0">
              <a:spAutoFit/>
            </a:bodyPr>
            <a:lstStyle/>
            <a:p>
              <a:pPr algn="l"/>
              <a:r>
                <a:rPr lang="en-US" sz="4800" b="1" dirty="0">
                  <a:solidFill>
                    <a:schemeClr val="tx1"/>
                  </a:solidFill>
                  <a:latin typeface="Century Gothic" panose="020B0502020202020204" pitchFamily="34" charset="0"/>
                </a:rPr>
                <a:t>37</a:t>
              </a:r>
              <a:endParaRPr lang="en-GB" sz="4400" b="1" dirty="0">
                <a:solidFill>
                  <a:schemeClr val="tx1"/>
                </a:solidFill>
                <a:latin typeface="Century Gothic" panose="020B0502020202020204" pitchFamily="34" charset="0"/>
              </a:endParaRPr>
            </a:p>
          </p:txBody>
        </p:sp>
        <p:sp>
          <p:nvSpPr>
            <p:cNvPr id="37" name="TextBox 36">
              <a:extLst>
                <a:ext uri="{FF2B5EF4-FFF2-40B4-BE49-F238E27FC236}">
                  <a16:creationId xmlns:a16="http://schemas.microsoft.com/office/drawing/2014/main" id="{4210C324-9963-D37B-B9AF-C6EC2BAB65CA}"/>
                </a:ext>
              </a:extLst>
            </p:cNvPr>
            <p:cNvSpPr txBox="1"/>
            <p:nvPr/>
          </p:nvSpPr>
          <p:spPr>
            <a:xfrm>
              <a:off x="3148433" y="3957557"/>
              <a:ext cx="2320059" cy="276999"/>
            </a:xfrm>
            <a:prstGeom prst="rect">
              <a:avLst/>
            </a:prstGeom>
            <a:noFill/>
            <a:ln>
              <a:noFill/>
            </a:ln>
          </p:spPr>
          <p:txBody>
            <a:bodyPr wrap="square" lIns="0" tIns="0" rIns="0" bIns="0" rtlCol="0" anchor="ctr" anchorCtr="0">
              <a:spAutoFit/>
            </a:bodyPr>
            <a:lstStyle/>
            <a:p>
              <a:r>
                <a:rPr lang="sk-SK" b="1" dirty="0">
                  <a:solidFill>
                    <a:schemeClr val="tx1"/>
                  </a:solidFill>
                  <a:latin typeface="Century Gothic" panose="020B0502020202020204" pitchFamily="34" charset="0"/>
                </a:rPr>
                <a:t>WORLDWIDE OFFICES</a:t>
              </a:r>
            </a:p>
          </p:txBody>
        </p:sp>
        <p:sp>
          <p:nvSpPr>
            <p:cNvPr id="38" name="TextBox 37">
              <a:extLst>
                <a:ext uri="{FF2B5EF4-FFF2-40B4-BE49-F238E27FC236}">
                  <a16:creationId xmlns:a16="http://schemas.microsoft.com/office/drawing/2014/main" id="{E8FB8B40-247C-A28F-2D21-86EF4B0329F4}"/>
                </a:ext>
              </a:extLst>
            </p:cNvPr>
            <p:cNvSpPr txBox="1"/>
            <p:nvPr/>
          </p:nvSpPr>
          <p:spPr>
            <a:xfrm>
              <a:off x="3170417" y="4229206"/>
              <a:ext cx="2298076" cy="246221"/>
            </a:xfrm>
            <a:prstGeom prst="rect">
              <a:avLst/>
            </a:prstGeom>
            <a:noFill/>
            <a:ln>
              <a:noFill/>
            </a:ln>
          </p:spPr>
          <p:txBody>
            <a:bodyPr wrap="square" lIns="0" tIns="0" rIns="0" bIns="0" rtlCol="0" anchor="ctr" anchorCtr="0">
              <a:spAutoFit/>
            </a:bodyPr>
            <a:lstStyle/>
            <a:p>
              <a:pPr algn="l"/>
              <a:r>
                <a:rPr lang="sk-SK" sz="1600" b="0" dirty="0">
                  <a:solidFill>
                    <a:schemeClr val="tx1"/>
                  </a:solidFill>
                  <a:latin typeface="Century Gothic" panose="020B0502020202020204" pitchFamily="34" charset="0"/>
                </a:rPr>
                <a:t>ACROSS 4 CONTINENTS</a:t>
              </a:r>
              <a:endParaRPr lang="en-GB" sz="1600" b="0" dirty="0">
                <a:solidFill>
                  <a:schemeClr val="tx1"/>
                </a:solidFill>
                <a:latin typeface="Century Gothic" panose="020B0502020202020204" pitchFamily="34" charset="0"/>
              </a:endParaRPr>
            </a:p>
          </p:txBody>
        </p:sp>
      </p:grpSp>
      <p:grpSp>
        <p:nvGrpSpPr>
          <p:cNvPr id="39" name="Group 38" descr="more than 100 global clients">
            <a:extLst>
              <a:ext uri="{FF2B5EF4-FFF2-40B4-BE49-F238E27FC236}">
                <a16:creationId xmlns:a16="http://schemas.microsoft.com/office/drawing/2014/main" id="{A55C08B0-4D30-F8F0-A622-17D9EDD2450B}"/>
              </a:ext>
            </a:extLst>
          </p:cNvPr>
          <p:cNvGrpSpPr/>
          <p:nvPr userDrawn="1"/>
        </p:nvGrpSpPr>
        <p:grpSpPr>
          <a:xfrm>
            <a:off x="5920110" y="4142353"/>
            <a:ext cx="1805300" cy="742672"/>
            <a:chOff x="5576575" y="3836611"/>
            <a:chExt cx="1805300" cy="742672"/>
          </a:xfrm>
        </p:grpSpPr>
        <p:sp>
          <p:nvSpPr>
            <p:cNvPr id="40" name="TextBox 39">
              <a:extLst>
                <a:ext uri="{FF2B5EF4-FFF2-40B4-BE49-F238E27FC236}">
                  <a16:creationId xmlns:a16="http://schemas.microsoft.com/office/drawing/2014/main" id="{57C93769-10B3-87D9-A02A-4894EBAEEF00}"/>
                </a:ext>
              </a:extLst>
            </p:cNvPr>
            <p:cNvSpPr txBox="1"/>
            <p:nvPr/>
          </p:nvSpPr>
          <p:spPr>
            <a:xfrm>
              <a:off x="6565265" y="3994909"/>
              <a:ext cx="816610" cy="246221"/>
            </a:xfrm>
            <a:prstGeom prst="rect">
              <a:avLst/>
            </a:prstGeom>
            <a:noFill/>
            <a:ln>
              <a:noFill/>
            </a:ln>
          </p:spPr>
          <p:txBody>
            <a:bodyPr wrap="square" lIns="0" tIns="0" rIns="0" bIns="0" rtlCol="0">
              <a:spAutoFit/>
            </a:bodyPr>
            <a:lstStyle/>
            <a:p>
              <a:pPr algn="l"/>
              <a:r>
                <a:rPr lang="sk-SK" sz="1600" b="1" dirty="0">
                  <a:solidFill>
                    <a:schemeClr val="tx1"/>
                  </a:solidFill>
                  <a:latin typeface="Century Gothic" panose="020B0502020202020204" pitchFamily="34" charset="0"/>
                </a:rPr>
                <a:t>GLOBAL</a:t>
              </a:r>
              <a:endParaRPr lang="en-GB" sz="1600" b="1" dirty="0">
                <a:solidFill>
                  <a:schemeClr val="tx1"/>
                </a:solidFill>
                <a:latin typeface="Century Gothic" panose="020B0502020202020204" pitchFamily="34" charset="0"/>
              </a:endParaRPr>
            </a:p>
          </p:txBody>
        </p:sp>
        <p:sp>
          <p:nvSpPr>
            <p:cNvPr id="41" name="TextBox 40">
              <a:extLst>
                <a:ext uri="{FF2B5EF4-FFF2-40B4-BE49-F238E27FC236}">
                  <a16:creationId xmlns:a16="http://schemas.microsoft.com/office/drawing/2014/main" id="{E42F165C-FBDD-66E5-B282-6A4A4C0181B6}"/>
                </a:ext>
              </a:extLst>
            </p:cNvPr>
            <p:cNvSpPr txBox="1"/>
            <p:nvPr/>
          </p:nvSpPr>
          <p:spPr>
            <a:xfrm>
              <a:off x="5576575" y="3902175"/>
              <a:ext cx="1057691" cy="677108"/>
            </a:xfrm>
            <a:prstGeom prst="rect">
              <a:avLst/>
            </a:prstGeom>
            <a:noFill/>
            <a:ln>
              <a:noFill/>
            </a:ln>
          </p:spPr>
          <p:txBody>
            <a:bodyPr wrap="square" lIns="0" tIns="0" rIns="0" bIns="0" rtlCol="0">
              <a:spAutoFit/>
            </a:bodyPr>
            <a:lstStyle/>
            <a:p>
              <a:pPr algn="l"/>
              <a:r>
                <a:rPr lang="en-US" sz="4400" b="1" dirty="0">
                  <a:solidFill>
                    <a:schemeClr val="tx1"/>
                  </a:solidFill>
                  <a:latin typeface="Century Gothic" panose="020B0502020202020204" pitchFamily="34" charset="0"/>
                </a:rPr>
                <a:t>100</a:t>
              </a:r>
              <a:endParaRPr lang="sk-SK" sz="4000" b="1" dirty="0">
                <a:solidFill>
                  <a:schemeClr val="tx1"/>
                </a:solidFill>
                <a:latin typeface="Century Gothic" panose="020B0502020202020204" pitchFamily="34" charset="0"/>
              </a:endParaRPr>
            </a:p>
          </p:txBody>
        </p:sp>
        <p:sp>
          <p:nvSpPr>
            <p:cNvPr id="43" name="TextBox 42">
              <a:extLst>
                <a:ext uri="{FF2B5EF4-FFF2-40B4-BE49-F238E27FC236}">
                  <a16:creationId xmlns:a16="http://schemas.microsoft.com/office/drawing/2014/main" id="{A72653E2-2C76-B07B-B0AC-AC4C7A4F4453}"/>
                </a:ext>
              </a:extLst>
            </p:cNvPr>
            <p:cNvSpPr txBox="1"/>
            <p:nvPr/>
          </p:nvSpPr>
          <p:spPr>
            <a:xfrm>
              <a:off x="6457126" y="3836611"/>
              <a:ext cx="177140"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a:t>
              </a:r>
              <a:endParaRPr lang="en-GB" sz="2800" b="1" dirty="0">
                <a:solidFill>
                  <a:schemeClr val="tx1"/>
                </a:solidFill>
                <a:latin typeface="Century Gothic" panose="020B0502020202020204" pitchFamily="34" charset="0"/>
              </a:endParaRPr>
            </a:p>
          </p:txBody>
        </p:sp>
        <p:sp>
          <p:nvSpPr>
            <p:cNvPr id="44" name="TextBox 43">
              <a:extLst>
                <a:ext uri="{FF2B5EF4-FFF2-40B4-BE49-F238E27FC236}">
                  <a16:creationId xmlns:a16="http://schemas.microsoft.com/office/drawing/2014/main" id="{65F07614-C492-F6CC-5969-02FD966DFE21}"/>
                </a:ext>
              </a:extLst>
            </p:cNvPr>
            <p:cNvSpPr txBox="1"/>
            <p:nvPr/>
          </p:nvSpPr>
          <p:spPr>
            <a:xfrm>
              <a:off x="6568572" y="4229634"/>
              <a:ext cx="813301" cy="256993"/>
            </a:xfrm>
            <a:prstGeom prst="rect">
              <a:avLst/>
            </a:prstGeom>
            <a:noFill/>
            <a:ln>
              <a:noFill/>
            </a:ln>
          </p:spPr>
          <p:txBody>
            <a:bodyPr wrap="square" lIns="0" tIns="0" rIns="0" bIns="0" rtlCol="0">
              <a:spAutoFit/>
            </a:bodyPr>
            <a:lstStyle/>
            <a:p>
              <a:pPr algn="l"/>
              <a:r>
                <a:rPr lang="sk-SK" sz="1670" b="1" dirty="0">
                  <a:solidFill>
                    <a:schemeClr val="tx1"/>
                  </a:solidFill>
                  <a:latin typeface="Century Gothic" panose="020B0502020202020204" pitchFamily="34" charset="0"/>
                </a:rPr>
                <a:t>CLIENTS</a:t>
              </a:r>
              <a:endParaRPr lang="en-GB" sz="1670" b="1" dirty="0">
                <a:solidFill>
                  <a:schemeClr val="tx1"/>
                </a:solidFill>
                <a:latin typeface="Century Gothic" panose="020B0502020202020204" pitchFamily="34" charset="0"/>
              </a:endParaRPr>
            </a:p>
          </p:txBody>
        </p:sp>
      </p:grpSp>
      <p:grpSp>
        <p:nvGrpSpPr>
          <p:cNvPr id="45" name="Group 44" descr="more than 20 years of industry experience">
            <a:extLst>
              <a:ext uri="{FF2B5EF4-FFF2-40B4-BE49-F238E27FC236}">
                <a16:creationId xmlns:a16="http://schemas.microsoft.com/office/drawing/2014/main" id="{A55FB6D5-17F1-01CE-7586-B6837AFA10E5}"/>
              </a:ext>
            </a:extLst>
          </p:cNvPr>
          <p:cNvGrpSpPr/>
          <p:nvPr userDrawn="1"/>
        </p:nvGrpSpPr>
        <p:grpSpPr>
          <a:xfrm>
            <a:off x="8216897" y="4088424"/>
            <a:ext cx="1410143" cy="853498"/>
            <a:chOff x="8216897" y="4088424"/>
            <a:chExt cx="1410143" cy="853498"/>
          </a:xfrm>
        </p:grpSpPr>
        <p:sp>
          <p:nvSpPr>
            <p:cNvPr id="46" name="TextBox 45">
              <a:extLst>
                <a:ext uri="{FF2B5EF4-FFF2-40B4-BE49-F238E27FC236}">
                  <a16:creationId xmlns:a16="http://schemas.microsoft.com/office/drawing/2014/main" id="{CA349679-46CE-91A6-7B1A-E36139AA8BE5}"/>
                </a:ext>
              </a:extLst>
            </p:cNvPr>
            <p:cNvSpPr txBox="1"/>
            <p:nvPr userDrawn="1"/>
          </p:nvSpPr>
          <p:spPr>
            <a:xfrm>
              <a:off x="8724141" y="4088424"/>
              <a:ext cx="199329"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a:t>
              </a:r>
              <a:endParaRPr lang="en-GB" sz="2800" b="1" dirty="0">
                <a:solidFill>
                  <a:schemeClr val="tx1"/>
                </a:solidFill>
                <a:latin typeface="Century Gothic" panose="020B0502020202020204" pitchFamily="34" charset="0"/>
              </a:endParaRPr>
            </a:p>
          </p:txBody>
        </p:sp>
        <p:grpSp>
          <p:nvGrpSpPr>
            <p:cNvPr id="47" name="Group 46" descr="more than 20 years of industry experience">
              <a:extLst>
                <a:ext uri="{FF2B5EF4-FFF2-40B4-BE49-F238E27FC236}">
                  <a16:creationId xmlns:a16="http://schemas.microsoft.com/office/drawing/2014/main" id="{7F7AF0E9-C835-FA5D-60FB-A79B1F95E20C}"/>
                </a:ext>
              </a:extLst>
            </p:cNvPr>
            <p:cNvGrpSpPr/>
            <p:nvPr userDrawn="1"/>
          </p:nvGrpSpPr>
          <p:grpSpPr>
            <a:xfrm>
              <a:off x="8216897" y="4154732"/>
              <a:ext cx="1410143" cy="787190"/>
              <a:chOff x="7881875" y="3805941"/>
              <a:chExt cx="1410143" cy="787190"/>
            </a:xfrm>
          </p:grpSpPr>
          <p:sp>
            <p:nvSpPr>
              <p:cNvPr id="48" name="TextBox 47">
                <a:extLst>
                  <a:ext uri="{FF2B5EF4-FFF2-40B4-BE49-F238E27FC236}">
                    <a16:creationId xmlns:a16="http://schemas.microsoft.com/office/drawing/2014/main" id="{BCB8FFFB-D6E8-0571-C6EC-22E60C1A5B40}"/>
                  </a:ext>
                </a:extLst>
              </p:cNvPr>
              <p:cNvSpPr txBox="1"/>
              <p:nvPr/>
            </p:nvSpPr>
            <p:spPr>
              <a:xfrm>
                <a:off x="7881875" y="3805941"/>
                <a:ext cx="1238228" cy="615553"/>
              </a:xfrm>
              <a:prstGeom prst="rect">
                <a:avLst/>
              </a:prstGeom>
              <a:noFill/>
              <a:ln>
                <a:noFill/>
              </a:ln>
            </p:spPr>
            <p:txBody>
              <a:bodyPr wrap="square" lIns="0" tIns="0" rIns="0" bIns="0" rtlCol="0">
                <a:spAutoFit/>
              </a:bodyPr>
              <a:lstStyle/>
              <a:p>
                <a:pPr algn="l"/>
                <a:r>
                  <a:rPr lang="sk-SK" sz="4000" b="1" dirty="0">
                    <a:solidFill>
                      <a:schemeClr val="tx1"/>
                    </a:solidFill>
                    <a:latin typeface="Century Gothic" panose="020B0502020202020204" pitchFamily="34" charset="0"/>
                  </a:rPr>
                  <a:t>2</a:t>
                </a:r>
                <a:r>
                  <a:rPr lang="en-GB" sz="4000" b="1" dirty="0">
                    <a:solidFill>
                      <a:schemeClr val="tx1"/>
                    </a:solidFill>
                    <a:latin typeface="Century Gothic" panose="020B0502020202020204" pitchFamily="34" charset="0"/>
                  </a:rPr>
                  <a:t>0</a:t>
                </a:r>
                <a:endParaRPr lang="en-GB" sz="5400" b="1" dirty="0">
                  <a:solidFill>
                    <a:schemeClr val="tx1"/>
                  </a:solidFill>
                  <a:latin typeface="Century Gothic" panose="020B0502020202020204" pitchFamily="34" charset="0"/>
                </a:endParaRPr>
              </a:p>
            </p:txBody>
          </p:sp>
          <p:sp>
            <p:nvSpPr>
              <p:cNvPr id="49" name="TextBox 48">
                <a:extLst>
                  <a:ext uri="{FF2B5EF4-FFF2-40B4-BE49-F238E27FC236}">
                    <a16:creationId xmlns:a16="http://schemas.microsoft.com/office/drawing/2014/main" id="{370798B9-7F8A-73AF-5079-C50D016C98DB}"/>
                  </a:ext>
                </a:extLst>
              </p:cNvPr>
              <p:cNvSpPr txBox="1"/>
              <p:nvPr/>
            </p:nvSpPr>
            <p:spPr>
              <a:xfrm>
                <a:off x="7892661" y="4316132"/>
                <a:ext cx="1399356" cy="276999"/>
              </a:xfrm>
              <a:prstGeom prst="rect">
                <a:avLst/>
              </a:prstGeom>
              <a:noFill/>
              <a:ln>
                <a:noFill/>
              </a:ln>
            </p:spPr>
            <p:txBody>
              <a:bodyPr wrap="square" lIns="0" tIns="0" rIns="0" bIns="0" rtlCol="0">
                <a:spAutoFit/>
              </a:bodyPr>
              <a:lstStyle/>
              <a:p>
                <a:pPr algn="l"/>
                <a:r>
                  <a:rPr lang="sk-SK" sz="1800" dirty="0">
                    <a:solidFill>
                      <a:schemeClr val="tx1"/>
                    </a:solidFill>
                    <a:latin typeface="Century Gothic" panose="020B0502020202020204" pitchFamily="34" charset="0"/>
                  </a:rPr>
                  <a:t>EXPERIENCE</a:t>
                </a:r>
                <a:endParaRPr lang="en-GB" sz="1800" dirty="0">
                  <a:solidFill>
                    <a:schemeClr val="tx1"/>
                  </a:solidFill>
                  <a:latin typeface="Century Gothic" panose="020B0502020202020204" pitchFamily="34" charset="0"/>
                </a:endParaRPr>
              </a:p>
            </p:txBody>
          </p:sp>
          <p:sp>
            <p:nvSpPr>
              <p:cNvPr id="51" name="TextBox 50">
                <a:extLst>
                  <a:ext uri="{FF2B5EF4-FFF2-40B4-BE49-F238E27FC236}">
                    <a16:creationId xmlns:a16="http://schemas.microsoft.com/office/drawing/2014/main" id="{AEDC3C99-9729-C8E0-AB04-A12CE64B3290}"/>
                  </a:ext>
                </a:extLst>
              </p:cNvPr>
              <p:cNvSpPr txBox="1"/>
              <p:nvPr/>
            </p:nvSpPr>
            <p:spPr>
              <a:xfrm>
                <a:off x="8553523" y="4153157"/>
                <a:ext cx="716144" cy="192360"/>
              </a:xfrm>
              <a:prstGeom prst="rect">
                <a:avLst/>
              </a:prstGeom>
              <a:noFill/>
              <a:ln>
                <a:noFill/>
              </a:ln>
            </p:spPr>
            <p:txBody>
              <a:bodyPr wrap="square" lIns="0" tIns="0" rIns="0" bIns="0" rtlCol="0">
                <a:spAutoFit/>
              </a:bodyPr>
              <a:lstStyle/>
              <a:p>
                <a:pPr algn="l"/>
                <a:r>
                  <a:rPr lang="sk-SK" sz="1250" dirty="0">
                    <a:solidFill>
                      <a:schemeClr val="tx1"/>
                    </a:solidFill>
                    <a:latin typeface="Century Gothic" panose="020B0502020202020204" pitchFamily="34" charset="0"/>
                  </a:rPr>
                  <a:t>INDUSTRY</a:t>
                </a:r>
                <a:endParaRPr lang="en-GB" sz="1250" dirty="0">
                  <a:solidFill>
                    <a:schemeClr val="tx1"/>
                  </a:solidFill>
                  <a:latin typeface="Century Gothic" panose="020B0502020202020204" pitchFamily="34" charset="0"/>
                </a:endParaRPr>
              </a:p>
            </p:txBody>
          </p:sp>
          <p:sp>
            <p:nvSpPr>
              <p:cNvPr id="52" name="TextBox 51">
                <a:extLst>
                  <a:ext uri="{FF2B5EF4-FFF2-40B4-BE49-F238E27FC236}">
                    <a16:creationId xmlns:a16="http://schemas.microsoft.com/office/drawing/2014/main" id="{FA607164-1C90-379C-52BF-1B1663FA3E5A}"/>
                  </a:ext>
                </a:extLst>
              </p:cNvPr>
              <p:cNvSpPr txBox="1"/>
              <p:nvPr/>
            </p:nvSpPr>
            <p:spPr>
              <a:xfrm>
                <a:off x="8517814" y="3873192"/>
                <a:ext cx="774204"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YEARS</a:t>
                </a:r>
                <a:endParaRPr lang="en-GB" sz="2000" b="1" dirty="0">
                  <a:solidFill>
                    <a:schemeClr val="tx1"/>
                  </a:solidFill>
                  <a:latin typeface="Century Gothic" panose="020B0502020202020204" pitchFamily="34" charset="0"/>
                </a:endParaRPr>
              </a:p>
            </p:txBody>
          </p:sp>
        </p:grpSp>
      </p:grpSp>
      <p:grpSp>
        <p:nvGrpSpPr>
          <p:cNvPr id="53" name="Group 52" descr="about 7000 employees">
            <a:extLst>
              <a:ext uri="{FF2B5EF4-FFF2-40B4-BE49-F238E27FC236}">
                <a16:creationId xmlns:a16="http://schemas.microsoft.com/office/drawing/2014/main" id="{83A33630-3D57-014A-1E46-A1D6A27F257A}"/>
              </a:ext>
            </a:extLst>
          </p:cNvPr>
          <p:cNvGrpSpPr/>
          <p:nvPr userDrawn="1"/>
        </p:nvGrpSpPr>
        <p:grpSpPr>
          <a:xfrm>
            <a:off x="10083045" y="4150394"/>
            <a:ext cx="1288292" cy="789342"/>
            <a:chOff x="9818544" y="3812992"/>
            <a:chExt cx="1288292" cy="789342"/>
          </a:xfrm>
        </p:grpSpPr>
        <p:sp>
          <p:nvSpPr>
            <p:cNvPr id="54" name="TextBox 53">
              <a:extLst>
                <a:ext uri="{FF2B5EF4-FFF2-40B4-BE49-F238E27FC236}">
                  <a16:creationId xmlns:a16="http://schemas.microsoft.com/office/drawing/2014/main" id="{21E023C2-D6A1-A297-B222-20151D69270A}"/>
                </a:ext>
              </a:extLst>
            </p:cNvPr>
            <p:cNvSpPr txBox="1"/>
            <p:nvPr/>
          </p:nvSpPr>
          <p:spPr>
            <a:xfrm>
              <a:off x="9818544" y="3812992"/>
              <a:ext cx="1288292" cy="553998"/>
            </a:xfrm>
            <a:prstGeom prst="rect">
              <a:avLst/>
            </a:prstGeom>
            <a:noFill/>
            <a:ln>
              <a:noFill/>
            </a:ln>
          </p:spPr>
          <p:txBody>
            <a:bodyPr wrap="square" lIns="0" tIns="0" rIns="0" bIns="0" rtlCol="0">
              <a:spAutoFit/>
            </a:bodyPr>
            <a:lstStyle/>
            <a:p>
              <a:pPr algn="l"/>
              <a:r>
                <a:rPr lang="sk-SK" sz="5400" b="1" baseline="-25000" dirty="0">
                  <a:solidFill>
                    <a:schemeClr val="tx1"/>
                  </a:solidFill>
                  <a:latin typeface="Century Gothic" panose="020B0502020202020204" pitchFamily="34" charset="0"/>
                </a:rPr>
                <a:t>˜</a:t>
              </a:r>
              <a:r>
                <a:rPr lang="sk-SK" sz="3600" b="1" dirty="0">
                  <a:solidFill>
                    <a:schemeClr val="tx1"/>
                  </a:solidFill>
                  <a:latin typeface="Century Gothic" panose="020B0502020202020204" pitchFamily="34" charset="0"/>
                </a:rPr>
                <a:t>7</a:t>
              </a:r>
              <a:r>
                <a:rPr lang="sk-SK" sz="3600" b="1" i="0" dirty="0">
                  <a:solidFill>
                    <a:schemeClr val="tx1"/>
                  </a:solidFill>
                  <a:latin typeface="Century Gothic" panose="020B0502020202020204" pitchFamily="34" charset="0"/>
                </a:rPr>
                <a:t>000</a:t>
              </a:r>
              <a:endParaRPr lang="en-GB" sz="3600" b="1" i="0" dirty="0">
                <a:solidFill>
                  <a:schemeClr val="tx1"/>
                </a:solidFill>
                <a:latin typeface="Century Gothic" panose="020B0502020202020204" pitchFamily="34" charset="0"/>
              </a:endParaRPr>
            </a:p>
          </p:txBody>
        </p:sp>
        <p:sp>
          <p:nvSpPr>
            <p:cNvPr id="55" name="TextBox 54">
              <a:extLst>
                <a:ext uri="{FF2B5EF4-FFF2-40B4-BE49-F238E27FC236}">
                  <a16:creationId xmlns:a16="http://schemas.microsoft.com/office/drawing/2014/main" id="{6C2C0FD2-AF56-7575-E878-D07776933761}"/>
                </a:ext>
              </a:extLst>
            </p:cNvPr>
            <p:cNvSpPr txBox="1"/>
            <p:nvPr/>
          </p:nvSpPr>
          <p:spPr>
            <a:xfrm>
              <a:off x="9855169" y="4340724"/>
              <a:ext cx="1251667" cy="261610"/>
            </a:xfrm>
            <a:prstGeom prst="rect">
              <a:avLst/>
            </a:prstGeom>
            <a:noFill/>
            <a:ln>
              <a:noFill/>
            </a:ln>
          </p:spPr>
          <p:txBody>
            <a:bodyPr wrap="square" lIns="0" tIns="0" rIns="0" bIns="0" rtlCol="0">
              <a:spAutoFit/>
            </a:bodyPr>
            <a:lstStyle/>
            <a:p>
              <a:pPr algn="l"/>
              <a:r>
                <a:rPr lang="sk-SK" sz="1700" i="0" dirty="0">
                  <a:solidFill>
                    <a:schemeClr val="tx1"/>
                  </a:solidFill>
                  <a:latin typeface="Century Gothic" panose="020B0502020202020204" pitchFamily="34" charset="0"/>
                </a:rPr>
                <a:t>EMPLOYEES</a:t>
              </a:r>
              <a:endParaRPr lang="en-GB" sz="1700" i="0" dirty="0">
                <a:solidFill>
                  <a:schemeClr val="tx1"/>
                </a:solidFill>
                <a:latin typeface="Century Gothic" panose="020B0502020202020204" pitchFamily="34" charset="0"/>
              </a:endParaRPr>
            </a:p>
          </p:txBody>
        </p:sp>
      </p:grpSp>
      <p:sp>
        <p:nvSpPr>
          <p:cNvPr id="142" name="TextBox 141">
            <a:extLst>
              <a:ext uri="{FF2B5EF4-FFF2-40B4-BE49-F238E27FC236}">
                <a16:creationId xmlns:a16="http://schemas.microsoft.com/office/drawing/2014/main" id="{DC257DD3-5924-2A56-9226-98634A59A129}"/>
              </a:ext>
            </a:extLst>
          </p:cNvPr>
          <p:cNvSpPr txBox="1"/>
          <p:nvPr userDrawn="1"/>
        </p:nvSpPr>
        <p:spPr>
          <a:xfrm>
            <a:off x="559048" y="5921995"/>
            <a:ext cx="1389221" cy="323165"/>
          </a:xfrm>
          <a:prstGeom prst="rect">
            <a:avLst/>
          </a:prstGeom>
          <a:noFill/>
          <a:ln>
            <a:noFill/>
          </a:ln>
        </p:spPr>
        <p:txBody>
          <a:bodyPr wrap="square" lIns="0" tIns="0" rIns="0" bIns="0" rtlCol="0">
            <a:spAutoFit/>
          </a:bodyPr>
          <a:lstStyle/>
          <a:p>
            <a:pPr algn="l"/>
            <a:r>
              <a:rPr lang="en-GB" sz="1050" b="1" noProof="0" dirty="0">
                <a:solidFill>
                  <a:schemeClr val="bg1"/>
                </a:solidFill>
                <a:latin typeface="Century Gothic" panose="020B0502020202020204" pitchFamily="34" charset="0"/>
              </a:rPr>
              <a:t>Digital</a:t>
            </a:r>
          </a:p>
          <a:p>
            <a:pPr algn="l"/>
            <a:r>
              <a:rPr lang="en-GB" altLang="en-US" sz="1050" b="1" kern="1200" noProof="0" dirty="0">
                <a:solidFill>
                  <a:schemeClr val="bg1"/>
                </a:solidFill>
                <a:latin typeface="Century Gothic" panose="020B0502020202020204" pitchFamily="34" charset="0"/>
                <a:sym typeface="Wingdings" panose="05000000000000000000" pitchFamily="2" charset="2"/>
              </a:rPr>
              <a:t>Transformation</a:t>
            </a:r>
          </a:p>
        </p:txBody>
      </p:sp>
      <p:sp>
        <p:nvSpPr>
          <p:cNvPr id="143" name="TextBox 142">
            <a:extLst>
              <a:ext uri="{FF2B5EF4-FFF2-40B4-BE49-F238E27FC236}">
                <a16:creationId xmlns:a16="http://schemas.microsoft.com/office/drawing/2014/main" id="{99D95D3A-C2D2-1C1D-F365-3B445BA2EC67}"/>
              </a:ext>
            </a:extLst>
          </p:cNvPr>
          <p:cNvSpPr txBox="1"/>
          <p:nvPr userDrawn="1"/>
        </p:nvSpPr>
        <p:spPr>
          <a:xfrm>
            <a:off x="2983743" y="5921995"/>
            <a:ext cx="1389221" cy="323165"/>
          </a:xfrm>
          <a:prstGeom prst="rect">
            <a:avLst/>
          </a:prstGeom>
          <a:noFill/>
          <a:ln>
            <a:noFill/>
          </a:ln>
        </p:spPr>
        <p:txBody>
          <a:bodyPr wrap="square" lIns="0" tIns="0" rIns="0" bIns="0" rtlCol="0">
            <a:spAutoFit/>
          </a:bodyPr>
          <a:lstStyle/>
          <a:p>
            <a:pPr algn="l"/>
            <a:r>
              <a:rPr lang="en-GB" sz="1050" b="1" noProof="0" dirty="0">
                <a:solidFill>
                  <a:schemeClr val="bg1"/>
                </a:solidFill>
                <a:latin typeface="Century Gothic" panose="020B0502020202020204" pitchFamily="34" charset="0"/>
              </a:rPr>
              <a:t>Innovation</a:t>
            </a:r>
            <a:r>
              <a:rPr lang="en-GB" sz="1050" b="1" dirty="0">
                <a:solidFill>
                  <a:schemeClr val="bg1"/>
                </a:solidFill>
                <a:latin typeface="Century Gothic" panose="020B0502020202020204" pitchFamily="34" charset="0"/>
              </a:rPr>
              <a:t> </a:t>
            </a:r>
            <a:r>
              <a:rPr lang="en-GB" altLang="en-US" sz="1050" b="1" kern="1200" dirty="0">
                <a:solidFill>
                  <a:schemeClr val="bg1"/>
                </a:solidFill>
                <a:latin typeface="Century Gothic" panose="020B0502020202020204" pitchFamily="34" charset="0"/>
                <a:sym typeface="Wingdings" panose="05000000000000000000" pitchFamily="2" charset="2"/>
              </a:rPr>
              <a:t>and Thought Leadership</a:t>
            </a:r>
          </a:p>
        </p:txBody>
      </p:sp>
      <p:sp>
        <p:nvSpPr>
          <p:cNvPr id="144" name="TextBox 143">
            <a:extLst>
              <a:ext uri="{FF2B5EF4-FFF2-40B4-BE49-F238E27FC236}">
                <a16:creationId xmlns:a16="http://schemas.microsoft.com/office/drawing/2014/main" id="{8A52C9B9-F56F-1AF3-629A-9B1A904E9DCA}"/>
              </a:ext>
            </a:extLst>
          </p:cNvPr>
          <p:cNvSpPr txBox="1"/>
          <p:nvPr userDrawn="1"/>
        </p:nvSpPr>
        <p:spPr>
          <a:xfrm>
            <a:off x="5408438" y="5921995"/>
            <a:ext cx="1389221" cy="323165"/>
          </a:xfrm>
          <a:prstGeom prst="rect">
            <a:avLst/>
          </a:prstGeom>
          <a:noFill/>
          <a:ln>
            <a:noFill/>
          </a:ln>
        </p:spPr>
        <p:txBody>
          <a:bodyPr wrap="square" lIns="0" tIns="0" rIns="0" bIns="0" rtlCol="0">
            <a:spAutoFit/>
          </a:bodyPr>
          <a:lstStyle/>
          <a:p>
            <a:pPr algn="l"/>
            <a:r>
              <a:rPr lang="en-GB" sz="1050" b="1" noProof="0" dirty="0">
                <a:solidFill>
                  <a:schemeClr val="bg1"/>
                </a:solidFill>
                <a:latin typeface="Century Gothic" panose="020B0502020202020204" pitchFamily="34" charset="0"/>
              </a:rPr>
              <a:t>Execution</a:t>
            </a:r>
          </a:p>
          <a:p>
            <a:pPr algn="l"/>
            <a:r>
              <a:rPr lang="en-GB" altLang="en-US" sz="1050" b="1" kern="1200" noProof="0" dirty="0">
                <a:solidFill>
                  <a:schemeClr val="bg1"/>
                </a:solidFill>
                <a:latin typeface="Century Gothic" panose="020B0502020202020204" pitchFamily="34" charset="0"/>
                <a:sym typeface="Wingdings" panose="05000000000000000000" pitchFamily="2" charset="2"/>
              </a:rPr>
              <a:t>Excellence</a:t>
            </a:r>
          </a:p>
        </p:txBody>
      </p:sp>
      <p:sp>
        <p:nvSpPr>
          <p:cNvPr id="145" name="TextBox 144">
            <a:extLst>
              <a:ext uri="{FF2B5EF4-FFF2-40B4-BE49-F238E27FC236}">
                <a16:creationId xmlns:a16="http://schemas.microsoft.com/office/drawing/2014/main" id="{768BC207-C515-30AF-361F-7B392B804363}"/>
              </a:ext>
            </a:extLst>
          </p:cNvPr>
          <p:cNvSpPr txBox="1"/>
          <p:nvPr userDrawn="1"/>
        </p:nvSpPr>
        <p:spPr>
          <a:xfrm>
            <a:off x="7833133" y="5921995"/>
            <a:ext cx="1389221" cy="323165"/>
          </a:xfrm>
          <a:prstGeom prst="rect">
            <a:avLst/>
          </a:prstGeom>
          <a:noFill/>
          <a:ln>
            <a:noFill/>
          </a:ln>
        </p:spPr>
        <p:txBody>
          <a:bodyPr wrap="square" lIns="0" tIns="0" rIns="0" bIns="0" rtlCol="0">
            <a:spAutoFit/>
          </a:bodyPr>
          <a:lstStyle/>
          <a:p>
            <a:r>
              <a:rPr lang="en-GB" sz="1050" b="1" noProof="0" dirty="0">
                <a:solidFill>
                  <a:schemeClr val="bg1"/>
                </a:solidFill>
                <a:latin typeface="Century Gothic" panose="020B0502020202020204" pitchFamily="34" charset="0"/>
              </a:rPr>
              <a:t>Unique</a:t>
            </a:r>
          </a:p>
          <a:p>
            <a:r>
              <a:rPr lang="en-GB" sz="1050" b="1" noProof="0" dirty="0">
                <a:solidFill>
                  <a:schemeClr val="bg1"/>
                </a:solidFill>
                <a:latin typeface="Century Gothic" panose="020B0502020202020204" pitchFamily="34" charset="0"/>
              </a:rPr>
              <a:t>Culture</a:t>
            </a:r>
          </a:p>
        </p:txBody>
      </p:sp>
      <p:sp>
        <p:nvSpPr>
          <p:cNvPr id="146" name="TextBox 145">
            <a:extLst>
              <a:ext uri="{FF2B5EF4-FFF2-40B4-BE49-F238E27FC236}">
                <a16:creationId xmlns:a16="http://schemas.microsoft.com/office/drawing/2014/main" id="{33C25C18-A22F-195B-ED35-D93DD9AB9FDB}"/>
              </a:ext>
            </a:extLst>
          </p:cNvPr>
          <p:cNvSpPr txBox="1"/>
          <p:nvPr userDrawn="1"/>
        </p:nvSpPr>
        <p:spPr>
          <a:xfrm>
            <a:off x="10257827" y="5921995"/>
            <a:ext cx="1389221" cy="323165"/>
          </a:xfrm>
          <a:prstGeom prst="rect">
            <a:avLst/>
          </a:prstGeom>
          <a:noFill/>
          <a:ln>
            <a:noFill/>
          </a:ln>
        </p:spPr>
        <p:txBody>
          <a:bodyPr wrap="square" lIns="0" tIns="0" rIns="0" bIns="0" rtlCol="0">
            <a:spAutoFit/>
          </a:bodyPr>
          <a:lstStyle/>
          <a:p>
            <a:r>
              <a:rPr lang="en-GB" sz="1050" b="1" noProof="0" dirty="0">
                <a:solidFill>
                  <a:schemeClr val="bg1"/>
                </a:solidFill>
                <a:latin typeface="Century Gothic" panose="020B0502020202020204" pitchFamily="34" charset="0"/>
              </a:rPr>
              <a:t>Industry</a:t>
            </a:r>
          </a:p>
          <a:p>
            <a:r>
              <a:rPr lang="en-GB" sz="1050" b="1" noProof="0" dirty="0">
                <a:solidFill>
                  <a:schemeClr val="bg1"/>
                </a:solidFill>
                <a:latin typeface="Century Gothic" panose="020B0502020202020204" pitchFamily="34" charset="0"/>
              </a:rPr>
              <a:t>Experience</a:t>
            </a:r>
          </a:p>
        </p:txBody>
      </p:sp>
    </p:spTree>
    <p:extLst>
      <p:ext uri="{BB962C8B-B14F-4D97-AF65-F5344CB8AC3E}">
        <p14:creationId xmlns:p14="http://schemas.microsoft.com/office/powerpoint/2010/main" val="21309179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losing Slide 1">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BB85980E-FECB-4E8C-BD95-0A2A03C55DA9}"/>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12" name="Graphic 11">
            <a:extLst>
              <a:ext uri="{FF2B5EF4-FFF2-40B4-BE49-F238E27FC236}">
                <a16:creationId xmlns:a16="http://schemas.microsoft.com/office/drawing/2014/main" id="{84BF26E8-6AAE-9C7C-83D1-9F2BEB1165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15" name="Group 14">
            <a:extLst>
              <a:ext uri="{FF2B5EF4-FFF2-40B4-BE49-F238E27FC236}">
                <a16:creationId xmlns:a16="http://schemas.microsoft.com/office/drawing/2014/main" id="{DA8A340B-D3DC-772D-CC88-520DA9E9EE93}"/>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6" name="Group 15">
              <a:extLst>
                <a:ext uri="{FF2B5EF4-FFF2-40B4-BE49-F238E27FC236}">
                  <a16:creationId xmlns:a16="http://schemas.microsoft.com/office/drawing/2014/main" id="{62F4C651-97E8-591D-BD46-D6F677C18BEE}"/>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9" name="Graphic 18">
                <a:hlinkClick r:id="rId4"/>
                <a:extLst>
                  <a:ext uri="{FF2B5EF4-FFF2-40B4-BE49-F238E27FC236}">
                    <a16:creationId xmlns:a16="http://schemas.microsoft.com/office/drawing/2014/main" id="{296EDEED-8EC0-C4ED-7B95-D0263D5007F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75427" y="5825098"/>
                <a:ext cx="102583" cy="192343"/>
              </a:xfrm>
              <a:prstGeom prst="rect">
                <a:avLst/>
              </a:prstGeom>
            </p:spPr>
          </p:pic>
          <p:pic>
            <p:nvPicPr>
              <p:cNvPr id="20" name="Graphic 19">
                <a:hlinkClick r:id="rId7"/>
                <a:extLst>
                  <a:ext uri="{FF2B5EF4-FFF2-40B4-BE49-F238E27FC236}">
                    <a16:creationId xmlns:a16="http://schemas.microsoft.com/office/drawing/2014/main" id="{DEA961BA-0D4A-998D-814A-5ADC8448E0D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69918" y="5844002"/>
                <a:ext cx="206045" cy="154534"/>
              </a:xfrm>
              <a:prstGeom prst="rect">
                <a:avLst/>
              </a:prstGeom>
            </p:spPr>
          </p:pic>
          <p:pic>
            <p:nvPicPr>
              <p:cNvPr id="21" name="Graphic 20">
                <a:hlinkClick r:id="rId10"/>
                <a:extLst>
                  <a:ext uri="{FF2B5EF4-FFF2-40B4-BE49-F238E27FC236}">
                    <a16:creationId xmlns:a16="http://schemas.microsoft.com/office/drawing/2014/main" id="{00C2EC33-87ED-4905-083A-BF26433854B5}"/>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575529" y="5831663"/>
                <a:ext cx="168012" cy="179213"/>
              </a:xfrm>
              <a:prstGeom prst="rect">
                <a:avLst/>
              </a:prstGeom>
            </p:spPr>
          </p:pic>
          <p:pic>
            <p:nvPicPr>
              <p:cNvPr id="22" name="Graphic 21">
                <a:hlinkClick r:id="rId13"/>
                <a:extLst>
                  <a:ext uri="{FF2B5EF4-FFF2-40B4-BE49-F238E27FC236}">
                    <a16:creationId xmlns:a16="http://schemas.microsoft.com/office/drawing/2014/main" id="{96DCB6C2-0A1E-B4E2-D825-2FD51C4E8F6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292666" y="5838261"/>
                <a:ext cx="166016" cy="166016"/>
              </a:xfrm>
              <a:prstGeom prst="rect">
                <a:avLst/>
              </a:prstGeom>
            </p:spPr>
          </p:pic>
        </p:grpSp>
        <p:pic>
          <p:nvPicPr>
            <p:cNvPr id="18" name="Graphic 17">
              <a:hlinkClick r:id="rId16"/>
              <a:extLst>
                <a:ext uri="{FF2B5EF4-FFF2-40B4-BE49-F238E27FC236}">
                  <a16:creationId xmlns:a16="http://schemas.microsoft.com/office/drawing/2014/main" id="{CE161D63-6D0F-D6EF-96C7-172EF3D2D964}"/>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85548" y="5530216"/>
              <a:ext cx="1263400" cy="178362"/>
            </a:xfrm>
            <a:prstGeom prst="rect">
              <a:avLst/>
            </a:prstGeom>
          </p:spPr>
        </p:pic>
      </p:grpSp>
      <p:cxnSp>
        <p:nvCxnSpPr>
          <p:cNvPr id="31" name="Straight Connector 30">
            <a:extLst>
              <a:ext uri="{FF2B5EF4-FFF2-40B4-BE49-F238E27FC236}">
                <a16:creationId xmlns:a16="http://schemas.microsoft.com/office/drawing/2014/main" id="{257C8479-139A-6820-6552-7BCCE815F21E}"/>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2A34DEC-F46C-BC6F-9F16-053374B6D09E}"/>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45D856C-1860-E5D4-0E27-CF6F72EB639E}"/>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11" name="Rectangle 1">
            <a:extLst>
              <a:ext uri="{FF2B5EF4-FFF2-40B4-BE49-F238E27FC236}">
                <a16:creationId xmlns:a16="http://schemas.microsoft.com/office/drawing/2014/main" id="{F939D458-5875-6662-B74C-2A40F352C8BE}"/>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p>
          <a:p>
            <a:pPr algn="l">
              <a:spcBef>
                <a:spcPts val="400"/>
              </a:spcBef>
            </a:pPr>
            <a:endParaRPr lang="en-US" altLang="en-US" sz="1099" b="0" i="0" noProof="0" dirty="0">
              <a:solidFill>
                <a:schemeClr val="accent3"/>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accent3"/>
                </a:solidFill>
                <a:latin typeface="Calibri" panose="020F0502020204030204" pitchFamily="34" charset="0"/>
                <a:ea typeface="+mn-ea"/>
                <a:cs typeface="Calibri" panose="020F0502020204030204" pitchFamily="34" charset="0"/>
                <a:hlinkClick r:id="rId19">
                  <a:extLst>
                    <a:ext uri="{A12FA001-AC4F-418D-AE19-62706E023703}">
                      <ahyp:hlinkClr xmlns:ahyp="http://schemas.microsoft.com/office/drawing/2018/hyperlinkcolor" val="tx"/>
                    </a:ext>
                  </a:extLst>
                </a:hlinkClick>
              </a:rPr>
              <a:t>www.capco.com</a:t>
            </a: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 or follow us on Facebook, YouTube, LinkedIn and Instagram.</a:t>
            </a:r>
          </a:p>
        </p:txBody>
      </p:sp>
      <p:sp>
        <p:nvSpPr>
          <p:cNvPr id="30" name="Rectangle 29">
            <a:extLst>
              <a:ext uri="{FF2B5EF4-FFF2-40B4-BE49-F238E27FC236}">
                <a16:creationId xmlns:a16="http://schemas.microsoft.com/office/drawing/2014/main" id="{5A2A9FEF-425E-3EE6-2BA6-7985F774014F}"/>
              </a:ext>
            </a:extLst>
          </p:cNvPr>
          <p:cNvSpPr/>
          <p:nvPr userDrawn="1"/>
        </p:nvSpPr>
        <p:spPr>
          <a:xfrm>
            <a:off x="1085548" y="3939409"/>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14" name="TextBox 13">
            <a:extLst>
              <a:ext uri="{FF2B5EF4-FFF2-40B4-BE49-F238E27FC236}">
                <a16:creationId xmlns:a16="http://schemas.microsoft.com/office/drawing/2014/main" id="{8998AAF2-C96E-4B19-2B3F-588B15C3E5F0}"/>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Electronic City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Sarjapur Road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Bangkok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mn-lt"/>
                <a:ea typeface="+mn-ea"/>
                <a:cs typeface="Calibri" panose="020F0502020204030204" pitchFamily="34" charset="0"/>
              </a:rPr>
              <a:t>Bratislav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Brussel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099" b="0" i="0" noProof="0" dirty="0">
                <a:solidFill>
                  <a:schemeClr val="accent3"/>
                </a:solidFill>
                <a:latin typeface="+mn-lt"/>
                <a:ea typeface="Arial" charset="0"/>
                <a:cs typeface="Calibri" panose="020F0502020204030204" pitchFamily="34" charset="0"/>
              </a:rPr>
              <a:t>Charlott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Chennai</a:t>
            </a:r>
            <a:r>
              <a:rPr lang="en-US" sz="1099" b="0" i="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rPr>
              <a:t>Chicago Dalla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Dusseldorf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Edinburgh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Frankfurt</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Geneva</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100" dirty="0">
                <a:solidFill>
                  <a:schemeClr val="accent3"/>
                </a:solidFill>
                <a:effectLst/>
                <a:latin typeface="+mn-lt"/>
                <a:ea typeface="Calibri" panose="020F0502020204030204" pitchFamily="34" charset="0"/>
              </a:rPr>
              <a:t>Gurga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rPr>
              <a:t>Hong Kong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Houst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accent3"/>
                </a:solidFill>
                <a:latin typeface="+mn-lt"/>
                <a:ea typeface="+mn-ea"/>
                <a:cs typeface="Calibri" panose="020F0502020204030204" pitchFamily="34" charset="0"/>
              </a:rPr>
              <a:t>Kuala Lumpur</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London</a:t>
            </a:r>
            <a:b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accent3"/>
                </a:solidFill>
                <a:latin typeface="+mn-lt"/>
                <a:ea typeface="+mn-ea"/>
                <a:cs typeface="Calibri" panose="020F0502020204030204" pitchFamily="34" charset="0"/>
                <a:sym typeface="Wingdings"/>
              </a:rPr>
              <a:t>Milan</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100" dirty="0">
                <a:solidFill>
                  <a:schemeClr val="accent3"/>
                </a:solidFill>
                <a:effectLst/>
                <a:latin typeface="+mn-lt"/>
                <a:ea typeface="Calibri" panose="020F0502020204030204" pitchFamily="34" charset="0"/>
              </a:rPr>
              <a:t>Mumbai</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 Munich  </a:t>
            </a:r>
            <a:r>
              <a:rPr lang="en-US" altLang="en-US" sz="1099" b="0" i="0" kern="1200" noProof="0" dirty="0">
                <a:solidFill>
                  <a:schemeClr val="accent3"/>
                </a:solidFill>
                <a:latin typeface="+mn-lt"/>
                <a:ea typeface="+mn-ea"/>
                <a:cs typeface="Calibri" panose="020F0502020204030204" pitchFamily="34" charset="0"/>
              </a:rPr>
              <a:t>New York</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Orland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Paris</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mn-lt"/>
                <a:cs typeface="Calibri" panose="020F0502020204030204" pitchFamily="34" charset="0"/>
              </a:rPr>
              <a:t>Pun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accent3"/>
                </a:solidFill>
                <a:latin typeface="+mn-lt"/>
                <a:ea typeface="+mn-ea"/>
                <a:cs typeface="Calibri" panose="020F0502020204030204" pitchFamily="34" charset="0"/>
              </a:rPr>
              <a:t>Singapore</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Toront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Vienn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Washington, D.C.</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283527706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losing Slide 2">
    <p:bg>
      <p:bgPr>
        <a:solidFill>
          <a:schemeClr val="tx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4864FD34-DA45-4FE7-8C9B-95A32330B88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15" name="Group 14">
            <a:extLst>
              <a:ext uri="{FF2B5EF4-FFF2-40B4-BE49-F238E27FC236}">
                <a16:creationId xmlns:a16="http://schemas.microsoft.com/office/drawing/2014/main" id="{61F02A85-F2D4-57FE-B7BC-D158F7C14D04}"/>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6" name="Group 15">
              <a:extLst>
                <a:ext uri="{FF2B5EF4-FFF2-40B4-BE49-F238E27FC236}">
                  <a16:creationId xmlns:a16="http://schemas.microsoft.com/office/drawing/2014/main" id="{5D02C038-5165-A13C-626C-BFEA71CCE6F0}"/>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9" name="Graphic 18">
                <a:hlinkClick r:id="rId4"/>
                <a:extLst>
                  <a:ext uri="{FF2B5EF4-FFF2-40B4-BE49-F238E27FC236}">
                    <a16:creationId xmlns:a16="http://schemas.microsoft.com/office/drawing/2014/main" id="{BC44F922-60F8-8DD3-0394-7A31754CD7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75427" y="5825098"/>
                <a:ext cx="102583" cy="192343"/>
              </a:xfrm>
              <a:prstGeom prst="rect">
                <a:avLst/>
              </a:prstGeom>
            </p:spPr>
          </p:pic>
          <p:pic>
            <p:nvPicPr>
              <p:cNvPr id="21" name="Graphic 20">
                <a:hlinkClick r:id="rId7"/>
                <a:extLst>
                  <a:ext uri="{FF2B5EF4-FFF2-40B4-BE49-F238E27FC236}">
                    <a16:creationId xmlns:a16="http://schemas.microsoft.com/office/drawing/2014/main" id="{F79CE3D1-2ABA-3355-E39C-3B5E0A824C2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69918" y="5844002"/>
                <a:ext cx="206045" cy="154534"/>
              </a:xfrm>
              <a:prstGeom prst="rect">
                <a:avLst/>
              </a:prstGeom>
            </p:spPr>
          </p:pic>
          <p:pic>
            <p:nvPicPr>
              <p:cNvPr id="22" name="Graphic 21">
                <a:hlinkClick r:id="rId10"/>
                <a:extLst>
                  <a:ext uri="{FF2B5EF4-FFF2-40B4-BE49-F238E27FC236}">
                    <a16:creationId xmlns:a16="http://schemas.microsoft.com/office/drawing/2014/main" id="{66F6157A-C7A1-10B9-0092-594D2333222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575529" y="5831663"/>
                <a:ext cx="168012" cy="179213"/>
              </a:xfrm>
              <a:prstGeom prst="rect">
                <a:avLst/>
              </a:prstGeom>
            </p:spPr>
          </p:pic>
          <p:pic>
            <p:nvPicPr>
              <p:cNvPr id="24" name="Graphic 23">
                <a:hlinkClick r:id="rId13"/>
                <a:extLst>
                  <a:ext uri="{FF2B5EF4-FFF2-40B4-BE49-F238E27FC236}">
                    <a16:creationId xmlns:a16="http://schemas.microsoft.com/office/drawing/2014/main" id="{68A597FF-D6C5-FA1E-2A21-96405B21B41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292666" y="5838261"/>
                <a:ext cx="166016" cy="166016"/>
              </a:xfrm>
              <a:prstGeom prst="rect">
                <a:avLst/>
              </a:prstGeom>
            </p:spPr>
          </p:pic>
        </p:grpSp>
        <p:pic>
          <p:nvPicPr>
            <p:cNvPr id="17" name="Graphic 16">
              <a:hlinkClick r:id="rId16"/>
              <a:extLst>
                <a:ext uri="{FF2B5EF4-FFF2-40B4-BE49-F238E27FC236}">
                  <a16:creationId xmlns:a16="http://schemas.microsoft.com/office/drawing/2014/main" id="{DAC66E5D-87C7-6E48-3E0C-928A3A66DC78}"/>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85548" y="5530216"/>
              <a:ext cx="1263400" cy="178362"/>
            </a:xfrm>
            <a:prstGeom prst="rect">
              <a:avLst/>
            </a:prstGeom>
          </p:spPr>
        </p:pic>
      </p:grpSp>
      <p:sp>
        <p:nvSpPr>
          <p:cNvPr id="23" name="TextBox 22">
            <a:extLst>
              <a:ext uri="{FF2B5EF4-FFF2-40B4-BE49-F238E27FC236}">
                <a16:creationId xmlns:a16="http://schemas.microsoft.com/office/drawing/2014/main" id="{40ADA000-243D-4683-8D28-966EE5CBA947}"/>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cxnSp>
        <p:nvCxnSpPr>
          <p:cNvPr id="2" name="Straight Connector 1">
            <a:extLst>
              <a:ext uri="{FF2B5EF4-FFF2-40B4-BE49-F238E27FC236}">
                <a16:creationId xmlns:a16="http://schemas.microsoft.com/office/drawing/2014/main" id="{40D10E62-5607-C6EC-564B-3397841B0996}"/>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D251208-7B1D-8EA4-E25D-A660258B806E}"/>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F945422-8BB0-6D56-4437-6885DF1FBA5F}"/>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12" name="Rectangle 1">
            <a:extLst>
              <a:ext uri="{FF2B5EF4-FFF2-40B4-BE49-F238E27FC236}">
                <a16:creationId xmlns:a16="http://schemas.microsoft.com/office/drawing/2014/main" id="{B0039A36-C246-32D5-64E9-CC83F347CF8F}"/>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endParaRPr lang="sk-SK" altLang="en-US" sz="1099" b="0" i="0" noProof="0" dirty="0">
              <a:solidFill>
                <a:schemeClr val="bg1"/>
              </a:solidFill>
              <a:latin typeface="Calibri" panose="020F0502020204030204" pitchFamily="34" charset="0"/>
              <a:cs typeface="Calibri" panose="020F0502020204030204" pitchFamily="34" charset="0"/>
            </a:endParaRPr>
          </a:p>
          <a:p>
            <a:pPr algn="l">
              <a:spcBef>
                <a:spcPts val="400"/>
              </a:spcBef>
            </a:pPr>
            <a:endParaRPr lang="en-US" altLang="en-US" sz="1099" b="0" i="0" noProof="0" dirty="0">
              <a:solidFill>
                <a:schemeClr val="bg1"/>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bg1"/>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bg1"/>
                </a:solidFill>
                <a:latin typeface="Calibri" panose="020F0502020204030204" pitchFamily="34" charset="0"/>
                <a:ea typeface="+mn-ea"/>
                <a:cs typeface="Calibri" panose="020F0502020204030204" pitchFamily="34" charset="0"/>
                <a:hlinkClick r:id="rId19">
                  <a:extLst>
                    <a:ext uri="{A12FA001-AC4F-418D-AE19-62706E023703}">
                      <ahyp:hlinkClr xmlns:ahyp="http://schemas.microsoft.com/office/drawing/2018/hyperlinkcolor" val="tx"/>
                    </a:ext>
                  </a:extLst>
                </a:hlinkClick>
              </a:rPr>
              <a:t>www.capco.com</a:t>
            </a:r>
            <a:r>
              <a:rPr lang="en-US" altLang="en-US" sz="1099" b="1" i="0" kern="1200" noProof="0" dirty="0">
                <a:solidFill>
                  <a:schemeClr val="bg1"/>
                </a:solidFill>
                <a:latin typeface="Calibri" panose="020F0502020204030204" pitchFamily="34" charset="0"/>
                <a:ea typeface="+mn-ea"/>
                <a:cs typeface="Calibri" panose="020F0502020204030204" pitchFamily="34" charset="0"/>
              </a:rPr>
              <a:t> or follow us on Facebook, YouTube, LinkedIn and Instagram.</a:t>
            </a:r>
          </a:p>
        </p:txBody>
      </p:sp>
      <p:sp>
        <p:nvSpPr>
          <p:cNvPr id="69" name="Rectangle 68">
            <a:extLst>
              <a:ext uri="{FF2B5EF4-FFF2-40B4-BE49-F238E27FC236}">
                <a16:creationId xmlns:a16="http://schemas.microsoft.com/office/drawing/2014/main" id="{36D192EF-5E01-4051-B405-56D1246CC661}"/>
              </a:ext>
            </a:extLst>
          </p:cNvPr>
          <p:cNvSpPr/>
          <p:nvPr/>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14" name="TextBox 13">
            <a:extLst>
              <a:ext uri="{FF2B5EF4-FFF2-40B4-BE49-F238E27FC236}">
                <a16:creationId xmlns:a16="http://schemas.microsoft.com/office/drawing/2014/main" id="{6ED0375F-7AAD-61C4-3EFE-B261C2A41BA0}"/>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Electronic City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Sarjapur Road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Bangkok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mn-lt"/>
                <a:ea typeface="+mn-ea"/>
                <a:cs typeface="Calibri" panose="020F0502020204030204" pitchFamily="34" charset="0"/>
              </a:rPr>
              <a:t>Bratislav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Brussel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099" b="0" i="0" noProof="0" dirty="0">
                <a:solidFill>
                  <a:schemeClr val="bg1"/>
                </a:solidFill>
                <a:latin typeface="+mn-lt"/>
                <a:ea typeface="Arial" charset="0"/>
                <a:cs typeface="Calibri" panose="020F0502020204030204" pitchFamily="34" charset="0"/>
              </a:rPr>
              <a:t>Charlott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Chennai</a:t>
            </a:r>
            <a:r>
              <a:rPr lang="en-US" sz="1099" b="0" i="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rPr>
              <a:t>Chicago Dalla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Dusseldorf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Edinburgh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Frankfurt</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Geneva</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100" dirty="0">
                <a:solidFill>
                  <a:schemeClr val="bg1"/>
                </a:solidFill>
                <a:effectLst/>
                <a:latin typeface="+mn-lt"/>
                <a:ea typeface="Calibri" panose="020F0502020204030204" pitchFamily="34" charset="0"/>
              </a:rPr>
              <a:t>Gurga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rPr>
              <a:t>Hong Kong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Houst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bg1"/>
                </a:solidFill>
                <a:latin typeface="+mn-lt"/>
                <a:ea typeface="+mn-ea"/>
                <a:cs typeface="Calibri" panose="020F0502020204030204" pitchFamily="34" charset="0"/>
              </a:rPr>
              <a:t>Kuala Lumpur</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London</a:t>
            </a:r>
            <a:b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bg1"/>
                </a:solidFill>
                <a:latin typeface="+mn-lt"/>
                <a:ea typeface="+mn-ea"/>
                <a:cs typeface="Calibri" panose="020F0502020204030204" pitchFamily="34" charset="0"/>
                <a:sym typeface="Wingdings"/>
              </a:rPr>
              <a:t>Milan</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100" dirty="0">
                <a:solidFill>
                  <a:schemeClr val="bg1"/>
                </a:solidFill>
                <a:effectLst/>
                <a:latin typeface="+mn-lt"/>
                <a:ea typeface="Calibri" panose="020F0502020204030204" pitchFamily="34" charset="0"/>
              </a:rPr>
              <a:t>Mumbai</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 Munich  </a:t>
            </a:r>
            <a:r>
              <a:rPr lang="en-US" altLang="en-US" sz="1099" b="0" i="0" kern="1200" noProof="0" dirty="0">
                <a:solidFill>
                  <a:schemeClr val="bg1"/>
                </a:solidFill>
                <a:latin typeface="+mn-lt"/>
                <a:ea typeface="+mn-ea"/>
                <a:cs typeface="Calibri" panose="020F0502020204030204" pitchFamily="34" charset="0"/>
              </a:rPr>
              <a:t>New York</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Orland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Paris</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mn-lt"/>
                <a:cs typeface="Calibri" panose="020F0502020204030204" pitchFamily="34" charset="0"/>
              </a:rPr>
              <a:t>Pun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bg1"/>
                </a:solidFill>
                <a:latin typeface="+mn-lt"/>
                <a:ea typeface="+mn-ea"/>
                <a:cs typeface="Calibri" panose="020F0502020204030204" pitchFamily="34" charset="0"/>
              </a:rPr>
              <a:t>Singapore</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Toront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Vienn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Washington, D.C.</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41135000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losing Slide 3">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B61383E-235E-48DC-AB2E-4EFF568D4204}"/>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29" name="TextBox 28">
            <a:extLst>
              <a:ext uri="{FF2B5EF4-FFF2-40B4-BE49-F238E27FC236}">
                <a16:creationId xmlns:a16="http://schemas.microsoft.com/office/drawing/2014/main" id="{113AADD1-1C05-2817-0927-3BDC61C485A6}"/>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32" name="Graphic 31">
            <a:extLst>
              <a:ext uri="{FF2B5EF4-FFF2-40B4-BE49-F238E27FC236}">
                <a16:creationId xmlns:a16="http://schemas.microsoft.com/office/drawing/2014/main" id="{D2A88A66-1268-2F55-A5A8-562AB4BC7D19}"/>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35" name="Group 34">
            <a:extLst>
              <a:ext uri="{FF2B5EF4-FFF2-40B4-BE49-F238E27FC236}">
                <a16:creationId xmlns:a16="http://schemas.microsoft.com/office/drawing/2014/main" id="{BDF1FB9A-31F6-B42C-C2BB-A496BD39D0A9}"/>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36" name="Group 35">
              <a:extLst>
                <a:ext uri="{FF2B5EF4-FFF2-40B4-BE49-F238E27FC236}">
                  <a16:creationId xmlns:a16="http://schemas.microsoft.com/office/drawing/2014/main" id="{DC9AE1BB-6847-2289-87B7-116825C9868F}"/>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38" name="Graphic 37">
                <a:hlinkClick r:id="rId5"/>
                <a:extLst>
                  <a:ext uri="{FF2B5EF4-FFF2-40B4-BE49-F238E27FC236}">
                    <a16:creationId xmlns:a16="http://schemas.microsoft.com/office/drawing/2014/main" id="{8CAA2F01-492D-5BF4-D483-EDC0FF2661B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39" name="Graphic 38">
                <a:hlinkClick r:id="rId8"/>
                <a:extLst>
                  <a:ext uri="{FF2B5EF4-FFF2-40B4-BE49-F238E27FC236}">
                    <a16:creationId xmlns:a16="http://schemas.microsoft.com/office/drawing/2014/main" id="{0D2D5DEE-469C-BC2F-8B2D-A9D177456E9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40" name="Graphic 39">
                <a:hlinkClick r:id="rId11"/>
                <a:extLst>
                  <a:ext uri="{FF2B5EF4-FFF2-40B4-BE49-F238E27FC236}">
                    <a16:creationId xmlns:a16="http://schemas.microsoft.com/office/drawing/2014/main" id="{CDFAA7E8-F91D-FC20-B710-F6C7A0B36A2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41" name="Graphic 40">
                <a:hlinkClick r:id="rId14"/>
                <a:extLst>
                  <a:ext uri="{FF2B5EF4-FFF2-40B4-BE49-F238E27FC236}">
                    <a16:creationId xmlns:a16="http://schemas.microsoft.com/office/drawing/2014/main" id="{F2D1852A-095A-8004-0119-D6F4CFE5500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37" name="Graphic 36">
              <a:hlinkClick r:id="rId17"/>
              <a:extLst>
                <a:ext uri="{FF2B5EF4-FFF2-40B4-BE49-F238E27FC236}">
                  <a16:creationId xmlns:a16="http://schemas.microsoft.com/office/drawing/2014/main" id="{7131E6A2-EAA2-D1F4-59AE-A369B134579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cxnSp>
        <p:nvCxnSpPr>
          <p:cNvPr id="42" name="Straight Connector 41">
            <a:extLst>
              <a:ext uri="{FF2B5EF4-FFF2-40B4-BE49-F238E27FC236}">
                <a16:creationId xmlns:a16="http://schemas.microsoft.com/office/drawing/2014/main" id="{9B84D495-0A81-C681-0606-792315FC5ACF}"/>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F35202-EBE6-7333-7050-90242189A71A}"/>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52769BC-9819-19DB-EE4D-A7DCC95E7FB9}"/>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45" name="Rectangle 1">
            <a:extLst>
              <a:ext uri="{FF2B5EF4-FFF2-40B4-BE49-F238E27FC236}">
                <a16:creationId xmlns:a16="http://schemas.microsoft.com/office/drawing/2014/main" id="{ED0C94AE-E771-D23C-D1AA-FFCFACDEC50A}"/>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p>
          <a:p>
            <a:pPr algn="l">
              <a:spcBef>
                <a:spcPts val="400"/>
              </a:spcBef>
            </a:pPr>
            <a:endParaRPr lang="en-US" altLang="en-US" sz="1099" b="0" i="0" noProof="0" dirty="0">
              <a:solidFill>
                <a:schemeClr val="accent3"/>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accent3"/>
                </a:solidFill>
                <a:latin typeface="Calibri" panose="020F0502020204030204" pitchFamily="34" charset="0"/>
                <a:ea typeface="+mn-ea"/>
                <a:cs typeface="Calibri" panose="020F0502020204030204" pitchFamily="34" charset="0"/>
                <a:hlinkClick r:id="rId20">
                  <a:extLst>
                    <a:ext uri="{A12FA001-AC4F-418D-AE19-62706E023703}">
                      <ahyp:hlinkClr xmlns:ahyp="http://schemas.microsoft.com/office/drawing/2018/hyperlinkcolor" val="tx"/>
                    </a:ext>
                  </a:extLst>
                </a:hlinkClick>
              </a:rPr>
              <a:t>www.capco.com</a:t>
            </a: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 or follow us on Facebook, YouTube, LinkedIn and Instagram.</a:t>
            </a:r>
          </a:p>
        </p:txBody>
      </p:sp>
      <p:sp>
        <p:nvSpPr>
          <p:cNvPr id="46" name="Rectangle 45">
            <a:extLst>
              <a:ext uri="{FF2B5EF4-FFF2-40B4-BE49-F238E27FC236}">
                <a16:creationId xmlns:a16="http://schemas.microsoft.com/office/drawing/2014/main" id="{965BE6C4-A21C-788C-D0CC-9ADC39570DEA}"/>
              </a:ext>
            </a:extLst>
          </p:cNvPr>
          <p:cNvSpPr/>
          <p:nvPr userDrawn="1"/>
        </p:nvSpPr>
        <p:spPr>
          <a:xfrm>
            <a:off x="1085548" y="3939409"/>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47" name="TextBox 46">
            <a:extLst>
              <a:ext uri="{FF2B5EF4-FFF2-40B4-BE49-F238E27FC236}">
                <a16:creationId xmlns:a16="http://schemas.microsoft.com/office/drawing/2014/main" id="{AB55E769-818F-9141-7E40-23265F56D604}"/>
              </a:ext>
            </a:extLst>
          </p:cNvPr>
          <p:cNvSpPr txBox="1"/>
          <p:nvPr userDrawn="1"/>
        </p:nvSpPr>
        <p:spPr>
          <a:xfrm>
            <a:off x="1085549" y="4506777"/>
            <a:ext cx="8250455"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Electronic City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Sarjapur Road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Bangkok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mn-lt"/>
                <a:ea typeface="+mn-ea"/>
                <a:cs typeface="Calibri" panose="020F0502020204030204" pitchFamily="34" charset="0"/>
              </a:rPr>
              <a:t>Bratislav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Brussel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099" b="0" i="0" noProof="0" dirty="0">
                <a:solidFill>
                  <a:schemeClr val="accent3"/>
                </a:solidFill>
                <a:latin typeface="+mn-lt"/>
                <a:ea typeface="Arial" charset="0"/>
                <a:cs typeface="Calibri" panose="020F0502020204030204" pitchFamily="34" charset="0"/>
              </a:rPr>
              <a:t>Charlott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Chennai</a:t>
            </a:r>
            <a:r>
              <a:rPr lang="en-US" sz="1099" b="0" i="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rPr>
              <a:t>Chicago Dalla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Dusseldorf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Edinburgh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Frankfurt</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Geneva</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100" dirty="0">
                <a:solidFill>
                  <a:schemeClr val="accent3"/>
                </a:solidFill>
                <a:effectLst/>
                <a:latin typeface="+mn-lt"/>
                <a:ea typeface="Calibri" panose="020F0502020204030204" pitchFamily="34" charset="0"/>
              </a:rPr>
              <a:t>Gurga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rPr>
              <a:t>Hong Kong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Houst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accent3"/>
                </a:solidFill>
                <a:latin typeface="+mn-lt"/>
                <a:ea typeface="+mn-ea"/>
                <a:cs typeface="Calibri" panose="020F0502020204030204" pitchFamily="34" charset="0"/>
              </a:rPr>
              <a:t>Kuala Lumpur</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London</a:t>
            </a:r>
            <a:b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accent3"/>
                </a:solidFill>
                <a:latin typeface="+mn-lt"/>
                <a:ea typeface="+mn-ea"/>
                <a:cs typeface="Calibri" panose="020F0502020204030204" pitchFamily="34" charset="0"/>
                <a:sym typeface="Wingdings"/>
              </a:rPr>
              <a:t>Milan</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100" dirty="0">
                <a:solidFill>
                  <a:schemeClr val="accent3"/>
                </a:solidFill>
                <a:effectLst/>
                <a:latin typeface="+mn-lt"/>
                <a:ea typeface="Calibri" panose="020F0502020204030204" pitchFamily="34" charset="0"/>
              </a:rPr>
              <a:t>Mumbai</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 Munich  </a:t>
            </a:r>
            <a:r>
              <a:rPr lang="en-US" altLang="en-US" sz="1099" b="0" i="0" kern="1200" noProof="0" dirty="0">
                <a:solidFill>
                  <a:schemeClr val="accent3"/>
                </a:solidFill>
                <a:latin typeface="+mn-lt"/>
                <a:ea typeface="+mn-ea"/>
                <a:cs typeface="Calibri" panose="020F0502020204030204" pitchFamily="34" charset="0"/>
              </a:rPr>
              <a:t>New York</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Orland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Paris</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mn-lt"/>
                <a:cs typeface="Calibri" panose="020F0502020204030204" pitchFamily="34" charset="0"/>
              </a:rPr>
              <a:t>Pun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accent3"/>
                </a:solidFill>
                <a:latin typeface="+mn-lt"/>
                <a:ea typeface="+mn-ea"/>
                <a:cs typeface="Calibri" panose="020F0502020204030204" pitchFamily="34" charset="0"/>
              </a:rPr>
              <a:t>Singapore</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Toront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Vienn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Washington, D.C.</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36580676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4">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BDC6A26E-4B0C-4F23-986A-02D364342A7C}"/>
              </a:ext>
              <a:ext uri="{C183D7F6-B498-43B3-948B-1728B52AA6E4}">
                <adec:decorative xmlns:adec="http://schemas.microsoft.com/office/drawing/2017/decorative" val="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29" name="TextBox 28">
            <a:extLst>
              <a:ext uri="{FF2B5EF4-FFF2-40B4-BE49-F238E27FC236}">
                <a16:creationId xmlns:a16="http://schemas.microsoft.com/office/drawing/2014/main" id="{FE45DCFF-4111-3E77-941F-09F2EFF56672}"/>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31" name="Graphic 30">
            <a:extLst>
              <a:ext uri="{FF2B5EF4-FFF2-40B4-BE49-F238E27FC236}">
                <a16:creationId xmlns:a16="http://schemas.microsoft.com/office/drawing/2014/main" id="{FB1D07DB-DEEB-DBC0-0984-303D5E6393EA}"/>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34" name="Group 33">
            <a:extLst>
              <a:ext uri="{FF2B5EF4-FFF2-40B4-BE49-F238E27FC236}">
                <a16:creationId xmlns:a16="http://schemas.microsoft.com/office/drawing/2014/main" id="{A26EF3D0-55DF-EE7A-3E26-B87E3CBAA87A}"/>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36" name="Group 35">
              <a:extLst>
                <a:ext uri="{FF2B5EF4-FFF2-40B4-BE49-F238E27FC236}">
                  <a16:creationId xmlns:a16="http://schemas.microsoft.com/office/drawing/2014/main" id="{04DA77A9-B841-E290-EBEF-AD237111E5D9}"/>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38" name="Graphic 37">
                <a:hlinkClick r:id="rId5"/>
                <a:extLst>
                  <a:ext uri="{FF2B5EF4-FFF2-40B4-BE49-F238E27FC236}">
                    <a16:creationId xmlns:a16="http://schemas.microsoft.com/office/drawing/2014/main" id="{EC52AA5F-A6A0-DDDC-2110-882175B1CD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39" name="Graphic 38">
                <a:hlinkClick r:id="rId8"/>
                <a:extLst>
                  <a:ext uri="{FF2B5EF4-FFF2-40B4-BE49-F238E27FC236}">
                    <a16:creationId xmlns:a16="http://schemas.microsoft.com/office/drawing/2014/main" id="{20683FFB-87B4-C6A4-1686-E40141915A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40" name="Graphic 39">
                <a:hlinkClick r:id="rId11"/>
                <a:extLst>
                  <a:ext uri="{FF2B5EF4-FFF2-40B4-BE49-F238E27FC236}">
                    <a16:creationId xmlns:a16="http://schemas.microsoft.com/office/drawing/2014/main" id="{AA4A0064-2D96-D506-4604-DAABD3AA225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41" name="Graphic 40">
                <a:hlinkClick r:id="rId14"/>
                <a:extLst>
                  <a:ext uri="{FF2B5EF4-FFF2-40B4-BE49-F238E27FC236}">
                    <a16:creationId xmlns:a16="http://schemas.microsoft.com/office/drawing/2014/main" id="{FA0B2EBE-52D2-EF4F-B854-464D4C3DA7C0}"/>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37" name="Graphic 36">
              <a:hlinkClick r:id="rId17"/>
              <a:extLst>
                <a:ext uri="{FF2B5EF4-FFF2-40B4-BE49-F238E27FC236}">
                  <a16:creationId xmlns:a16="http://schemas.microsoft.com/office/drawing/2014/main" id="{82DE473E-0E09-5F66-E32E-08A1ACC67193}"/>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cxnSp>
        <p:nvCxnSpPr>
          <p:cNvPr id="42" name="Straight Connector 41">
            <a:extLst>
              <a:ext uri="{FF2B5EF4-FFF2-40B4-BE49-F238E27FC236}">
                <a16:creationId xmlns:a16="http://schemas.microsoft.com/office/drawing/2014/main" id="{9FFC3858-41B1-0887-9E2B-E4BF4A442A9E}"/>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C8C93E9-25BD-AE4D-54FA-6C88EE0C407A}"/>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2737399-6500-5B9B-30A7-5A554BE5606B}"/>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45" name="Rectangle 1">
            <a:extLst>
              <a:ext uri="{FF2B5EF4-FFF2-40B4-BE49-F238E27FC236}">
                <a16:creationId xmlns:a16="http://schemas.microsoft.com/office/drawing/2014/main" id="{A24FB8A9-D4C2-D784-4334-4D60C180ED7E}"/>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p>
          <a:p>
            <a:pPr algn="l">
              <a:spcBef>
                <a:spcPts val="400"/>
              </a:spcBef>
            </a:pPr>
            <a:endParaRPr lang="en-US" altLang="en-US" sz="1099" b="0" i="0" noProof="0" dirty="0">
              <a:solidFill>
                <a:schemeClr val="accent3"/>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accent3"/>
                </a:solidFill>
                <a:latin typeface="Calibri" panose="020F0502020204030204" pitchFamily="34" charset="0"/>
                <a:ea typeface="+mn-ea"/>
                <a:cs typeface="Calibri" panose="020F0502020204030204" pitchFamily="34" charset="0"/>
                <a:hlinkClick r:id="rId20">
                  <a:extLst>
                    <a:ext uri="{A12FA001-AC4F-418D-AE19-62706E023703}">
                      <ahyp:hlinkClr xmlns:ahyp="http://schemas.microsoft.com/office/drawing/2018/hyperlinkcolor" val="tx"/>
                    </a:ext>
                  </a:extLst>
                </a:hlinkClick>
              </a:rPr>
              <a:t>www.capco.com</a:t>
            </a:r>
            <a:r>
              <a:rPr lang="en-US" altLang="en-US" sz="1099" b="1" i="0" kern="1200" noProof="0" dirty="0">
                <a:solidFill>
                  <a:schemeClr val="accent3"/>
                </a:solidFill>
                <a:latin typeface="Calibri" panose="020F0502020204030204" pitchFamily="34" charset="0"/>
                <a:ea typeface="+mn-ea"/>
                <a:cs typeface="Calibri" panose="020F0502020204030204" pitchFamily="34" charset="0"/>
              </a:rPr>
              <a:t> or follow us on Facebook, YouTube, LinkedIn and Instagram.</a:t>
            </a:r>
          </a:p>
        </p:txBody>
      </p:sp>
      <p:sp>
        <p:nvSpPr>
          <p:cNvPr id="46" name="Rectangle 45">
            <a:extLst>
              <a:ext uri="{FF2B5EF4-FFF2-40B4-BE49-F238E27FC236}">
                <a16:creationId xmlns:a16="http://schemas.microsoft.com/office/drawing/2014/main" id="{91FE46AF-78C7-A10C-375F-B40DFAABCEEF}"/>
              </a:ext>
            </a:extLst>
          </p:cNvPr>
          <p:cNvSpPr/>
          <p:nvPr userDrawn="1"/>
        </p:nvSpPr>
        <p:spPr>
          <a:xfrm>
            <a:off x="1085548" y="3939409"/>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47" name="TextBox 46">
            <a:extLst>
              <a:ext uri="{FF2B5EF4-FFF2-40B4-BE49-F238E27FC236}">
                <a16:creationId xmlns:a16="http://schemas.microsoft.com/office/drawing/2014/main" id="{64B658C2-8AE9-E6FE-818C-BBFE5AF77C6F}"/>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Electronic City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Bangalore - Sarjapur Road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Bangkok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mn-lt"/>
                <a:ea typeface="+mn-ea"/>
                <a:cs typeface="Calibri" panose="020F0502020204030204" pitchFamily="34" charset="0"/>
              </a:rPr>
              <a:t>Bratislav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Brussel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099" b="0" i="0" noProof="0" dirty="0">
                <a:solidFill>
                  <a:schemeClr val="accent3"/>
                </a:solidFill>
                <a:latin typeface="+mn-lt"/>
                <a:ea typeface="Arial" charset="0"/>
                <a:cs typeface="Calibri" panose="020F0502020204030204" pitchFamily="34" charset="0"/>
              </a:rPr>
              <a:t>Charlott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Chennai</a:t>
            </a:r>
            <a:r>
              <a:rPr lang="en-US" sz="1099" b="0" i="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mn-lt"/>
                <a:ea typeface="Arial" charset="0"/>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rPr>
              <a:t>Chicago Dallas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Dusseldorf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Edinburgh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Frankfurt</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Geneva</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100" dirty="0">
                <a:solidFill>
                  <a:schemeClr val="accent3"/>
                </a:solidFill>
                <a:effectLst/>
                <a:latin typeface="+mn-lt"/>
                <a:ea typeface="Calibri" panose="020F0502020204030204" pitchFamily="34" charset="0"/>
              </a:rPr>
              <a:t>Gurga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mn-lt"/>
                <a:ea typeface="+mn-ea"/>
                <a:cs typeface="Calibri" panose="020F0502020204030204" pitchFamily="34" charset="0"/>
              </a:rPr>
              <a:t>Hong Kong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rPr>
              <a:t>Houston</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accent3"/>
                </a:solidFill>
                <a:latin typeface="+mn-lt"/>
                <a:ea typeface="+mn-ea"/>
                <a:cs typeface="Calibri" panose="020F0502020204030204" pitchFamily="34" charset="0"/>
              </a:rPr>
              <a:t>Kuala Lumpur</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London</a:t>
            </a:r>
            <a:b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accent3"/>
                </a:solidFill>
                <a:latin typeface="+mn-lt"/>
                <a:ea typeface="+mn-ea"/>
                <a:cs typeface="Calibri" panose="020F0502020204030204" pitchFamily="34" charset="0"/>
                <a:sym typeface="Wingdings"/>
              </a:rPr>
              <a:t>Milan</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sz="1100" dirty="0">
                <a:solidFill>
                  <a:schemeClr val="accent3"/>
                </a:solidFill>
                <a:effectLst/>
                <a:latin typeface="+mn-lt"/>
                <a:ea typeface="Calibri" panose="020F0502020204030204" pitchFamily="34" charset="0"/>
              </a:rPr>
              <a:t>Mumbai</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mn-lt"/>
                <a:ea typeface="+mn-ea"/>
                <a:cs typeface="Calibri" panose="020F0502020204030204" pitchFamily="34" charset="0"/>
                <a:sym typeface="Wingdings"/>
              </a:rPr>
              <a:t> Munich  </a:t>
            </a:r>
            <a:r>
              <a:rPr lang="en-US" altLang="en-US" sz="1099" b="0" i="0" kern="1200" noProof="0" dirty="0">
                <a:solidFill>
                  <a:schemeClr val="accent3"/>
                </a:solidFill>
                <a:latin typeface="+mn-lt"/>
                <a:ea typeface="+mn-ea"/>
                <a:cs typeface="Calibri" panose="020F0502020204030204" pitchFamily="34" charset="0"/>
              </a:rPr>
              <a:t>New York</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Orland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Paris</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mn-lt"/>
                <a:cs typeface="Calibri" panose="020F0502020204030204" pitchFamily="34" charset="0"/>
              </a:rPr>
              <a:t>Pune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accent3"/>
                </a:solidFill>
                <a:latin typeface="+mn-lt"/>
                <a:ea typeface="+mn-ea"/>
                <a:cs typeface="Calibri" panose="020F0502020204030204" pitchFamily="34" charset="0"/>
              </a:rPr>
              <a:t>Singapore</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Toronto</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Vienna </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mn-lt"/>
                <a:ea typeface="+mn-ea"/>
                <a:cs typeface="Calibri" panose="020F0502020204030204" pitchFamily="34" charset="0"/>
              </a:rPr>
              <a:t> </a:t>
            </a:r>
            <a:r>
              <a:rPr lang="en-US" altLang="en-US" sz="1099" b="0" i="0" kern="1200" noProof="0" dirty="0">
                <a:solidFill>
                  <a:schemeClr val="accent3"/>
                </a:solidFill>
                <a:latin typeface="+mn-lt"/>
                <a:ea typeface="+mn-ea"/>
                <a:cs typeface="Calibri" panose="020F0502020204030204" pitchFamily="34" charset="0"/>
                <a:sym typeface="Wingdings"/>
              </a:rPr>
              <a:t> </a:t>
            </a:r>
            <a:r>
              <a:rPr lang="en-US" altLang="en-US" sz="1099" b="0" i="0" kern="1200" noProof="0" dirty="0">
                <a:solidFill>
                  <a:schemeClr val="accent3"/>
                </a:solidFill>
                <a:latin typeface="+mn-lt"/>
                <a:ea typeface="+mn-ea"/>
                <a:cs typeface="Calibri" panose="020F0502020204030204" pitchFamily="34" charset="0"/>
              </a:rPr>
              <a:t>Washington, D.C.</a:t>
            </a:r>
            <a:r>
              <a:rPr lang="en-US" altLang="en-US" sz="1099" b="0" i="0" kern="1200" noProof="0" dirty="0">
                <a:solidFill>
                  <a:schemeClr val="accent3"/>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94504996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3BA9917-222A-420F-8AA3-8BCDD222E471}"/>
              </a:ext>
              <a:ext uri="{C183D7F6-B498-43B3-948B-1728B52AA6E4}">
                <adec:decorative xmlns:adec="http://schemas.microsoft.com/office/drawing/2017/decorative" val="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grpSp>
        <p:nvGrpSpPr>
          <p:cNvPr id="10" name="Group 9">
            <a:extLst>
              <a:ext uri="{FF2B5EF4-FFF2-40B4-BE49-F238E27FC236}">
                <a16:creationId xmlns:a16="http://schemas.microsoft.com/office/drawing/2014/main" id="{D75B2052-6BCD-43D1-8A51-E12BD2A28685}"/>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7" name="Freeform: Shape 16">
              <a:extLst>
                <a:ext uri="{FF2B5EF4-FFF2-40B4-BE49-F238E27FC236}">
                  <a16:creationId xmlns:a16="http://schemas.microsoft.com/office/drawing/2014/main" id="{9EC5D55B-F1F7-4B7F-B264-7F995F80510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B8E515F4-DC9E-47F8-8543-4FDBF82B9681}"/>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5B2C71D2-960F-4A9A-B8F7-F9B11797C3AE}"/>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FB90DF89-5E51-4B40-BFB7-E1D917EA44AA}"/>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DDD6550B-0913-4C97-8A69-60037CF09958}"/>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26" name="Graphic 25">
            <a:extLst>
              <a:ext uri="{FF2B5EF4-FFF2-40B4-BE49-F238E27FC236}">
                <a16:creationId xmlns:a16="http://schemas.microsoft.com/office/drawing/2014/main" id="{8A9B20E4-FDB6-458A-8018-5AB812F7D66A}"/>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
        <p:nvSpPr>
          <p:cNvPr id="18" name="Picture Placeholder 23">
            <a:extLst>
              <a:ext uri="{FF2B5EF4-FFF2-40B4-BE49-F238E27FC236}">
                <a16:creationId xmlns:a16="http://schemas.microsoft.com/office/drawing/2014/main" id="{24C4BE84-8A7F-8E4E-8AEF-D1E6C1AD1575}"/>
              </a:ext>
              <a:ext uri="{C183D7F6-B498-43B3-948B-1728B52AA6E4}">
                <adec:decorative xmlns:adec="http://schemas.microsoft.com/office/drawing/2017/decorative" val="1"/>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5394105" cy="720197"/>
          </a:xfrm>
          <a:blipFill dpi="0" rotWithShape="1">
            <a:blip r:embed="rId5"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50000"/>
                  </a:schemeClr>
                </a:solidFill>
                <a:latin typeface="Century Gothic" panose="020B0502020202020204" pitchFamily="34" charset="0"/>
              </a:defRPr>
            </a:lvl1pPr>
          </a:lstStyle>
          <a:p>
            <a:pPr lvl="0"/>
            <a:r>
              <a:rPr lang="en-US" dirty="0"/>
              <a:t>Subtitle goes here</a:t>
            </a:r>
          </a:p>
        </p:txBody>
      </p:sp>
      <p:sp>
        <p:nvSpPr>
          <p:cNvPr id="12" name="Text Placeholder 2">
            <a:extLst>
              <a:ext uri="{FF2B5EF4-FFF2-40B4-BE49-F238E27FC236}">
                <a16:creationId xmlns:a16="http://schemas.microsoft.com/office/drawing/2014/main" id="{8D8FD65E-EA83-40BA-8C85-BD6868311BD0}"/>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4" name="Text Placeholder 4">
            <a:extLst>
              <a:ext uri="{FF2B5EF4-FFF2-40B4-BE49-F238E27FC236}">
                <a16:creationId xmlns:a16="http://schemas.microsoft.com/office/drawing/2014/main" id="{0A26A899-58C5-4C45-9F23-84FE7AB29F30}"/>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6" name="Text Placeholder 9">
            <a:extLst>
              <a:ext uri="{FF2B5EF4-FFF2-40B4-BE49-F238E27FC236}">
                <a16:creationId xmlns:a16="http://schemas.microsoft.com/office/drawing/2014/main" id="{8C33C9A8-71B8-44BE-AA5B-4E51D188E490}"/>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1205124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losing Slide 5">
    <p:bg>
      <p:bgPr>
        <a:solidFill>
          <a:schemeClr val="tx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DA427D0-0152-483C-954E-0CCAB2DBEED4}"/>
              </a:ext>
              <a:ext uri="{C183D7F6-B498-43B3-948B-1728B52AA6E4}">
                <adec:decorative xmlns:adec="http://schemas.microsoft.com/office/drawing/2017/decorative" val="1"/>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10027" y="-5"/>
            <a:ext cx="12181973" cy="6858000"/>
          </a:xfrm>
          <a:prstGeom prst="rect">
            <a:avLst/>
          </a:prstGeom>
        </p:spPr>
      </p:pic>
      <p:pic>
        <p:nvPicPr>
          <p:cNvPr id="2" name="Graphic 1">
            <a:extLst>
              <a:ext uri="{FF2B5EF4-FFF2-40B4-BE49-F238E27FC236}">
                <a16:creationId xmlns:a16="http://schemas.microsoft.com/office/drawing/2014/main" id="{2C0E873A-DA24-C150-799B-690F7AE63FB2}"/>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3" name="Group 2">
            <a:extLst>
              <a:ext uri="{FF2B5EF4-FFF2-40B4-BE49-F238E27FC236}">
                <a16:creationId xmlns:a16="http://schemas.microsoft.com/office/drawing/2014/main" id="{54F327E8-9C3F-54ED-F792-6A63B50DCDA3}"/>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4" name="Group 3">
              <a:extLst>
                <a:ext uri="{FF2B5EF4-FFF2-40B4-BE49-F238E27FC236}">
                  <a16:creationId xmlns:a16="http://schemas.microsoft.com/office/drawing/2014/main" id="{B898B54F-AED8-EF03-3B46-E5D7ED72B7E8}"/>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6" name="Graphic 5">
                <a:hlinkClick r:id="rId5"/>
                <a:extLst>
                  <a:ext uri="{FF2B5EF4-FFF2-40B4-BE49-F238E27FC236}">
                    <a16:creationId xmlns:a16="http://schemas.microsoft.com/office/drawing/2014/main" id="{72107A58-E958-A27D-E9A2-9EB636F87DB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7" name="Graphic 6">
                <a:hlinkClick r:id="rId8"/>
                <a:extLst>
                  <a:ext uri="{FF2B5EF4-FFF2-40B4-BE49-F238E27FC236}">
                    <a16:creationId xmlns:a16="http://schemas.microsoft.com/office/drawing/2014/main" id="{927691AC-31BD-FB1F-3A46-1AE9D058865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8" name="Graphic 7">
                <a:hlinkClick r:id="rId11"/>
                <a:extLst>
                  <a:ext uri="{FF2B5EF4-FFF2-40B4-BE49-F238E27FC236}">
                    <a16:creationId xmlns:a16="http://schemas.microsoft.com/office/drawing/2014/main" id="{96BCCBAB-1FCC-AFB2-F7BD-377ED9D2A92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9" name="Graphic 8">
                <a:hlinkClick r:id="rId14"/>
                <a:extLst>
                  <a:ext uri="{FF2B5EF4-FFF2-40B4-BE49-F238E27FC236}">
                    <a16:creationId xmlns:a16="http://schemas.microsoft.com/office/drawing/2014/main" id="{BD8EAEBA-84BA-7C2B-F892-A9061782762D}"/>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5" name="Graphic 4">
              <a:hlinkClick r:id="rId17"/>
              <a:extLst>
                <a:ext uri="{FF2B5EF4-FFF2-40B4-BE49-F238E27FC236}">
                  <a16:creationId xmlns:a16="http://schemas.microsoft.com/office/drawing/2014/main" id="{F93371E4-FD16-56D8-DCF2-2B0761393CB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
        <p:nvSpPr>
          <p:cNvPr id="10" name="TextBox 9">
            <a:extLst>
              <a:ext uri="{FF2B5EF4-FFF2-40B4-BE49-F238E27FC236}">
                <a16:creationId xmlns:a16="http://schemas.microsoft.com/office/drawing/2014/main" id="{F039AFCE-02F8-549B-6429-A7F9B2D47FF8}"/>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cxnSp>
        <p:nvCxnSpPr>
          <p:cNvPr id="11" name="Straight Connector 10">
            <a:extLst>
              <a:ext uri="{FF2B5EF4-FFF2-40B4-BE49-F238E27FC236}">
                <a16:creationId xmlns:a16="http://schemas.microsoft.com/office/drawing/2014/main" id="{112BD46E-A2A6-623B-3BCF-4BE1CB92DD7D}"/>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B3E6823-DC89-D970-F0DB-A48BA4C4D0F6}"/>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0FE92AA-3B8D-343F-A5E7-B93DA62BD19C}"/>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26" name="Rectangle 1">
            <a:extLst>
              <a:ext uri="{FF2B5EF4-FFF2-40B4-BE49-F238E27FC236}">
                <a16:creationId xmlns:a16="http://schemas.microsoft.com/office/drawing/2014/main" id="{4C4E84FE-0213-EA46-0BEC-D0C967DB2661}"/>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endParaRPr lang="sk-SK" altLang="en-US" sz="1099" b="0" i="0" noProof="0" dirty="0">
              <a:solidFill>
                <a:schemeClr val="bg1"/>
              </a:solidFill>
              <a:latin typeface="Calibri" panose="020F0502020204030204" pitchFamily="34" charset="0"/>
              <a:cs typeface="Calibri" panose="020F0502020204030204" pitchFamily="34" charset="0"/>
            </a:endParaRPr>
          </a:p>
          <a:p>
            <a:pPr algn="l">
              <a:spcBef>
                <a:spcPts val="400"/>
              </a:spcBef>
            </a:pPr>
            <a:endParaRPr lang="en-US" altLang="en-US" sz="1099" b="0" i="0" noProof="0" dirty="0">
              <a:solidFill>
                <a:schemeClr val="bg1"/>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bg1"/>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bg1"/>
                </a:solidFill>
                <a:latin typeface="Calibri" panose="020F0502020204030204" pitchFamily="34" charset="0"/>
                <a:ea typeface="+mn-ea"/>
                <a:cs typeface="Calibri" panose="020F0502020204030204" pitchFamily="34" charset="0"/>
                <a:hlinkClick r:id="rId20">
                  <a:extLst>
                    <a:ext uri="{A12FA001-AC4F-418D-AE19-62706E023703}">
                      <ahyp:hlinkClr xmlns:ahyp="http://schemas.microsoft.com/office/drawing/2018/hyperlinkcolor" val="tx"/>
                    </a:ext>
                  </a:extLst>
                </a:hlinkClick>
              </a:rPr>
              <a:t>www.capco.com</a:t>
            </a:r>
            <a:r>
              <a:rPr lang="en-US" altLang="en-US" sz="1099" b="1" i="0" kern="1200" noProof="0" dirty="0">
                <a:solidFill>
                  <a:schemeClr val="bg1"/>
                </a:solidFill>
                <a:latin typeface="Calibri" panose="020F0502020204030204" pitchFamily="34" charset="0"/>
                <a:ea typeface="+mn-ea"/>
                <a:cs typeface="Calibri" panose="020F0502020204030204" pitchFamily="34" charset="0"/>
              </a:rPr>
              <a:t> or follow us on Facebook, YouTube, LinkedIn and Instagram.</a:t>
            </a:r>
          </a:p>
        </p:txBody>
      </p:sp>
      <p:sp>
        <p:nvSpPr>
          <p:cNvPr id="27" name="Rectangle 26">
            <a:extLst>
              <a:ext uri="{FF2B5EF4-FFF2-40B4-BE49-F238E27FC236}">
                <a16:creationId xmlns:a16="http://schemas.microsoft.com/office/drawing/2014/main" id="{C6A2D79B-55E2-53EE-BE50-2BB4ED08BC54}"/>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28" name="TextBox 27">
            <a:extLst>
              <a:ext uri="{FF2B5EF4-FFF2-40B4-BE49-F238E27FC236}">
                <a16:creationId xmlns:a16="http://schemas.microsoft.com/office/drawing/2014/main" id="{0ADC3132-4AB5-AB8B-0A2B-0E7F7C6E9FBA}"/>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Electronic City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Sarjapur Road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Bangkok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mn-lt"/>
                <a:ea typeface="+mn-ea"/>
                <a:cs typeface="Calibri" panose="020F0502020204030204" pitchFamily="34" charset="0"/>
              </a:rPr>
              <a:t>Bratislav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Brussel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099" b="0" i="0" noProof="0" dirty="0">
                <a:solidFill>
                  <a:schemeClr val="bg1"/>
                </a:solidFill>
                <a:latin typeface="+mn-lt"/>
                <a:ea typeface="Arial" charset="0"/>
                <a:cs typeface="Calibri" panose="020F0502020204030204" pitchFamily="34" charset="0"/>
              </a:rPr>
              <a:t>Charlott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Chennai</a:t>
            </a:r>
            <a:r>
              <a:rPr lang="en-US" sz="1099" b="0" i="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rPr>
              <a:t>Chicago Dalla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Dusseldorf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Edinburgh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Frankfurt</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Geneva</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100" dirty="0">
                <a:solidFill>
                  <a:schemeClr val="bg1"/>
                </a:solidFill>
                <a:effectLst/>
                <a:latin typeface="+mn-lt"/>
                <a:ea typeface="Calibri" panose="020F0502020204030204" pitchFamily="34" charset="0"/>
              </a:rPr>
              <a:t>Gurga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rPr>
              <a:t>Hong Kong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Houst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bg1"/>
                </a:solidFill>
                <a:latin typeface="+mn-lt"/>
                <a:ea typeface="+mn-ea"/>
                <a:cs typeface="Calibri" panose="020F0502020204030204" pitchFamily="34" charset="0"/>
              </a:rPr>
              <a:t>Kuala Lumpur</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London</a:t>
            </a:r>
            <a:b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bg1"/>
                </a:solidFill>
                <a:latin typeface="+mn-lt"/>
                <a:ea typeface="+mn-ea"/>
                <a:cs typeface="Calibri" panose="020F0502020204030204" pitchFamily="34" charset="0"/>
                <a:sym typeface="Wingdings"/>
              </a:rPr>
              <a:t>Milan</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100" dirty="0">
                <a:solidFill>
                  <a:schemeClr val="bg1"/>
                </a:solidFill>
                <a:effectLst/>
                <a:latin typeface="+mn-lt"/>
                <a:ea typeface="Calibri" panose="020F0502020204030204" pitchFamily="34" charset="0"/>
              </a:rPr>
              <a:t>Mumbai</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 Munich  </a:t>
            </a:r>
            <a:r>
              <a:rPr lang="en-US" altLang="en-US" sz="1099" b="0" i="0" kern="1200" noProof="0" dirty="0">
                <a:solidFill>
                  <a:schemeClr val="bg1"/>
                </a:solidFill>
                <a:latin typeface="+mn-lt"/>
                <a:ea typeface="+mn-ea"/>
                <a:cs typeface="Calibri" panose="020F0502020204030204" pitchFamily="34" charset="0"/>
              </a:rPr>
              <a:t>New York</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Orland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Paris</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mn-lt"/>
                <a:cs typeface="Calibri" panose="020F0502020204030204" pitchFamily="34" charset="0"/>
              </a:rPr>
              <a:t>Pun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bg1"/>
                </a:solidFill>
                <a:latin typeface="+mn-lt"/>
                <a:ea typeface="+mn-ea"/>
                <a:cs typeface="Calibri" panose="020F0502020204030204" pitchFamily="34" charset="0"/>
              </a:rPr>
              <a:t>Singapore</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Toront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Vienn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Washington, D.C.</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372870290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Slide 6">
    <p:bg>
      <p:bgPr>
        <a:solidFill>
          <a:schemeClr val="tx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A64013C-1C6F-431E-A5AB-F015C37E300E}"/>
              </a:ext>
              <a:ext uri="{C183D7F6-B498-43B3-948B-1728B52AA6E4}">
                <adec:decorative xmlns:adec="http://schemas.microsoft.com/office/drawing/2017/decorative" val="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pic>
        <p:nvPicPr>
          <p:cNvPr id="3" name="Graphic 2">
            <a:extLst>
              <a:ext uri="{FF2B5EF4-FFF2-40B4-BE49-F238E27FC236}">
                <a16:creationId xmlns:a16="http://schemas.microsoft.com/office/drawing/2014/main" id="{536BACB6-A5B6-1DF1-781A-748B4AC59331}"/>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 name="Group 3">
            <a:extLst>
              <a:ext uri="{FF2B5EF4-FFF2-40B4-BE49-F238E27FC236}">
                <a16:creationId xmlns:a16="http://schemas.microsoft.com/office/drawing/2014/main" id="{09DF383F-BEA6-E235-6EB2-982238D04297}"/>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5" name="Group 4">
              <a:extLst>
                <a:ext uri="{FF2B5EF4-FFF2-40B4-BE49-F238E27FC236}">
                  <a16:creationId xmlns:a16="http://schemas.microsoft.com/office/drawing/2014/main" id="{44916193-3428-5FDE-7D5C-691E3BC28409}"/>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7" name="Graphic 6">
                <a:hlinkClick r:id="rId5"/>
                <a:extLst>
                  <a:ext uri="{FF2B5EF4-FFF2-40B4-BE49-F238E27FC236}">
                    <a16:creationId xmlns:a16="http://schemas.microsoft.com/office/drawing/2014/main" id="{9153A534-3D62-390F-AA86-AF3F659E221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8" name="Graphic 7">
                <a:hlinkClick r:id="rId8"/>
                <a:extLst>
                  <a:ext uri="{FF2B5EF4-FFF2-40B4-BE49-F238E27FC236}">
                    <a16:creationId xmlns:a16="http://schemas.microsoft.com/office/drawing/2014/main" id="{3FC655A4-B302-9F43-86B7-8F8AE7DE2B0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9" name="Graphic 8">
                <a:hlinkClick r:id="rId11"/>
                <a:extLst>
                  <a:ext uri="{FF2B5EF4-FFF2-40B4-BE49-F238E27FC236}">
                    <a16:creationId xmlns:a16="http://schemas.microsoft.com/office/drawing/2014/main" id="{C82F1308-0CF9-A52D-D1CF-0F18C013337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10" name="Graphic 9">
                <a:hlinkClick r:id="rId14"/>
                <a:extLst>
                  <a:ext uri="{FF2B5EF4-FFF2-40B4-BE49-F238E27FC236}">
                    <a16:creationId xmlns:a16="http://schemas.microsoft.com/office/drawing/2014/main" id="{4A5B8F36-5FE4-8E31-AA77-FA561EE0A17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6" name="Graphic 5">
              <a:hlinkClick r:id="rId17"/>
              <a:extLst>
                <a:ext uri="{FF2B5EF4-FFF2-40B4-BE49-F238E27FC236}">
                  <a16:creationId xmlns:a16="http://schemas.microsoft.com/office/drawing/2014/main" id="{659960A6-67CE-C992-2D35-99E0921105C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
        <p:nvSpPr>
          <p:cNvPr id="11" name="TextBox 10">
            <a:extLst>
              <a:ext uri="{FF2B5EF4-FFF2-40B4-BE49-F238E27FC236}">
                <a16:creationId xmlns:a16="http://schemas.microsoft.com/office/drawing/2014/main" id="{45D31E1F-ACF2-1002-CD6D-83CCEC2F5E11}"/>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cxnSp>
        <p:nvCxnSpPr>
          <p:cNvPr id="12" name="Straight Connector 11">
            <a:extLst>
              <a:ext uri="{FF2B5EF4-FFF2-40B4-BE49-F238E27FC236}">
                <a16:creationId xmlns:a16="http://schemas.microsoft.com/office/drawing/2014/main" id="{DFADF6C5-47DA-2274-580B-772062B6C536}"/>
              </a:ext>
              <a:ext uri="{C183D7F6-B498-43B3-948B-1728B52AA6E4}">
                <adec:decorative xmlns:adec="http://schemas.microsoft.com/office/drawing/2017/decorative" val="1"/>
              </a:ext>
            </a:extLst>
          </p:cNvPr>
          <p:cNvCxnSpPr>
            <a:cxnSpLocks/>
          </p:cNvCxnSpPr>
          <p:nvPr userDrawn="1"/>
        </p:nvCxnSpPr>
        <p:spPr>
          <a:xfrm>
            <a:off x="1085548" y="1628775"/>
            <a:ext cx="1712421"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4BC29F7-AA78-F2A6-B77A-E0099655B299}"/>
              </a:ext>
              <a:ext uri="{C183D7F6-B498-43B3-948B-1728B52AA6E4}">
                <adec:decorative xmlns:adec="http://schemas.microsoft.com/office/drawing/2017/decorative" val="1"/>
              </a:ext>
            </a:extLst>
          </p:cNvPr>
          <p:cNvCxnSpPr>
            <a:cxnSpLocks/>
          </p:cNvCxnSpPr>
          <p:nvPr userDrawn="1"/>
        </p:nvCxnSpPr>
        <p:spPr>
          <a:xfrm>
            <a:off x="1085548" y="4258333"/>
            <a:ext cx="223550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960B9DD-02D8-B390-5C10-1D77DD462263}"/>
              </a:ext>
            </a:extLst>
          </p:cNvPr>
          <p:cNvSpPr/>
          <p:nvPr userDrawn="1"/>
        </p:nvSpPr>
        <p:spPr>
          <a:xfrm>
            <a:off x="1085548" y="1309851"/>
            <a:ext cx="8250455"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26" name="Rectangle 1">
            <a:extLst>
              <a:ext uri="{FF2B5EF4-FFF2-40B4-BE49-F238E27FC236}">
                <a16:creationId xmlns:a16="http://schemas.microsoft.com/office/drawing/2014/main" id="{75B9CB30-2EC9-ED59-AE64-3A22D938B707}"/>
              </a:ext>
            </a:extLst>
          </p:cNvPr>
          <p:cNvSpPr>
            <a:spLocks noChangeArrowheads="1"/>
          </p:cNvSpPr>
          <p:nvPr userDrawn="1"/>
        </p:nvSpPr>
        <p:spPr bwMode="auto">
          <a:xfrm>
            <a:off x="1085548" y="1892514"/>
            <a:ext cx="8250455" cy="11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focused in the financial services industry. Capco operates at the intersection of business and technology by combining innovative thinking with unrivalled industry knowledge to fast-track digital initiatives for banking and payments, capital markets, wealth and asset management, insurance, and the energy sector. Capco’s cutting-edge ingenuity is brought to life through its award-winning Be Yourself At Work culture and diverse talent.</a:t>
            </a:r>
            <a:endParaRPr lang="sk-SK" altLang="en-US" sz="1099" b="0" i="0" noProof="0" dirty="0">
              <a:solidFill>
                <a:schemeClr val="bg1"/>
              </a:solidFill>
              <a:latin typeface="Calibri" panose="020F0502020204030204" pitchFamily="34" charset="0"/>
              <a:cs typeface="Calibri" panose="020F0502020204030204" pitchFamily="34" charset="0"/>
            </a:endParaRPr>
          </a:p>
          <a:p>
            <a:pPr algn="l">
              <a:spcBef>
                <a:spcPts val="400"/>
              </a:spcBef>
            </a:pPr>
            <a:endParaRPr lang="en-US" altLang="en-US" sz="1099" b="0" i="0" noProof="0" dirty="0">
              <a:solidFill>
                <a:schemeClr val="bg1"/>
              </a:solidFill>
              <a:latin typeface="Calibri" panose="020F0502020204030204" pitchFamily="34" charset="0"/>
              <a:cs typeface="Calibri" panose="020F0502020204030204" pitchFamily="34" charset="0"/>
            </a:endParaRPr>
          </a:p>
          <a:p>
            <a:pPr marL="0" algn="l" defTabSz="914400" rtl="0" eaLnBrk="1" latinLnBrk="0" hangingPunct="1">
              <a:spcBef>
                <a:spcPts val="400"/>
              </a:spcBef>
            </a:pPr>
            <a:r>
              <a:rPr lang="en-US" altLang="en-US" sz="1099" b="1" i="0" kern="1200" noProof="0" dirty="0">
                <a:solidFill>
                  <a:schemeClr val="bg1"/>
                </a:solidFill>
                <a:latin typeface="Calibri" panose="020F0502020204030204" pitchFamily="34" charset="0"/>
                <a:ea typeface="+mn-ea"/>
                <a:cs typeface="Calibri" panose="020F0502020204030204" pitchFamily="34" charset="0"/>
              </a:rPr>
              <a:t>To learn more, visit </a:t>
            </a:r>
            <a:r>
              <a:rPr lang="en-US" altLang="en-US" sz="1099" b="1" i="0" kern="1200" noProof="0" dirty="0">
                <a:solidFill>
                  <a:schemeClr val="bg1"/>
                </a:solidFill>
                <a:latin typeface="Calibri" panose="020F0502020204030204" pitchFamily="34" charset="0"/>
                <a:ea typeface="+mn-ea"/>
                <a:cs typeface="Calibri" panose="020F0502020204030204" pitchFamily="34" charset="0"/>
                <a:hlinkClick r:id="rId20">
                  <a:extLst>
                    <a:ext uri="{A12FA001-AC4F-418D-AE19-62706E023703}">
                      <ahyp:hlinkClr xmlns:ahyp="http://schemas.microsoft.com/office/drawing/2018/hyperlinkcolor" val="tx"/>
                    </a:ext>
                  </a:extLst>
                </a:hlinkClick>
              </a:rPr>
              <a:t>www.capco.com</a:t>
            </a:r>
            <a:r>
              <a:rPr lang="en-US" altLang="en-US" sz="1099" b="1" i="0" kern="1200" noProof="0" dirty="0">
                <a:solidFill>
                  <a:schemeClr val="bg1"/>
                </a:solidFill>
                <a:latin typeface="Calibri" panose="020F0502020204030204" pitchFamily="34" charset="0"/>
                <a:ea typeface="+mn-ea"/>
                <a:cs typeface="Calibri" panose="020F0502020204030204" pitchFamily="34" charset="0"/>
              </a:rPr>
              <a:t> or follow us on Facebook, YouTube, LinkedIn and Instagram.</a:t>
            </a:r>
          </a:p>
        </p:txBody>
      </p:sp>
      <p:sp>
        <p:nvSpPr>
          <p:cNvPr id="27" name="Rectangle 26">
            <a:extLst>
              <a:ext uri="{FF2B5EF4-FFF2-40B4-BE49-F238E27FC236}">
                <a16:creationId xmlns:a16="http://schemas.microsoft.com/office/drawing/2014/main" id="{531A3DD3-8CF9-7167-C17E-5E1F7DF192DD}"/>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28" name="TextBox 27">
            <a:extLst>
              <a:ext uri="{FF2B5EF4-FFF2-40B4-BE49-F238E27FC236}">
                <a16:creationId xmlns:a16="http://schemas.microsoft.com/office/drawing/2014/main" id="{DDE09E80-02DA-D0E5-0F71-391BED98024C}"/>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lphaville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Electronic City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Bangalore - Sarjapur Road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Bangkok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mn-lt"/>
                <a:ea typeface="+mn-ea"/>
                <a:cs typeface="Calibri" panose="020F0502020204030204" pitchFamily="34" charset="0"/>
              </a:rPr>
              <a:t>Bratislav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Brussel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099" b="0" i="0" noProof="0" dirty="0">
                <a:solidFill>
                  <a:schemeClr val="bg1"/>
                </a:solidFill>
                <a:latin typeface="+mn-lt"/>
                <a:ea typeface="Arial" charset="0"/>
                <a:cs typeface="Calibri" panose="020F0502020204030204" pitchFamily="34" charset="0"/>
              </a:rPr>
              <a:t>Charlott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Chennai</a:t>
            </a:r>
            <a:r>
              <a:rPr lang="en-US" sz="1099" b="0" i="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mn-lt"/>
                <a:ea typeface="Arial" charset="0"/>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rPr>
              <a:t>Chicago Dallas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Dubai</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Dusseldorf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Edinburgh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Frankfurt</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Geneva</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100" dirty="0">
                <a:solidFill>
                  <a:schemeClr val="bg1"/>
                </a:solidFill>
                <a:effectLst/>
                <a:latin typeface="+mn-lt"/>
                <a:ea typeface="Calibri" panose="020F0502020204030204" pitchFamily="34" charset="0"/>
              </a:rPr>
              <a:t>Gurga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mn-lt"/>
                <a:ea typeface="+mn-ea"/>
                <a:cs typeface="Calibri" panose="020F0502020204030204" pitchFamily="34" charset="0"/>
              </a:rPr>
              <a:t>Hong Kong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rPr>
              <a:t>Houston</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Hyderabad  </a:t>
            </a:r>
            <a:r>
              <a:rPr lang="en-US" altLang="en-US" sz="1099" b="0" i="0" kern="1200" noProof="0" dirty="0">
                <a:solidFill>
                  <a:schemeClr val="bg1"/>
                </a:solidFill>
                <a:latin typeface="+mn-lt"/>
                <a:ea typeface="+mn-ea"/>
                <a:cs typeface="Calibri" panose="020F0502020204030204" pitchFamily="34" charset="0"/>
              </a:rPr>
              <a:t>Kuala Lumpur</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London</a:t>
            </a:r>
            <a:b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br>
            <a:r>
              <a:rPr lang="en-US" altLang="en-US" sz="1099" b="0" i="0" kern="1200" noProof="0" dirty="0">
                <a:solidFill>
                  <a:schemeClr val="bg1"/>
                </a:solidFill>
                <a:latin typeface="+mn-lt"/>
                <a:ea typeface="+mn-ea"/>
                <a:cs typeface="Calibri" panose="020F0502020204030204" pitchFamily="34" charset="0"/>
                <a:sym typeface="Wingdings"/>
              </a:rPr>
              <a:t>Milan</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sz="1100" dirty="0">
                <a:solidFill>
                  <a:schemeClr val="bg1"/>
                </a:solidFill>
                <a:effectLst/>
                <a:latin typeface="+mn-lt"/>
                <a:ea typeface="Calibri" panose="020F0502020204030204" pitchFamily="34" charset="0"/>
              </a:rPr>
              <a:t>Mumbai</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mn-lt"/>
                <a:ea typeface="+mn-ea"/>
                <a:cs typeface="Calibri" panose="020F0502020204030204" pitchFamily="34" charset="0"/>
                <a:sym typeface="Wingdings"/>
              </a:rPr>
              <a:t> Munich  </a:t>
            </a:r>
            <a:r>
              <a:rPr lang="en-US" altLang="en-US" sz="1099" b="0" i="0" kern="1200" noProof="0" dirty="0">
                <a:solidFill>
                  <a:schemeClr val="bg1"/>
                </a:solidFill>
                <a:latin typeface="+mn-lt"/>
                <a:ea typeface="+mn-ea"/>
                <a:cs typeface="Calibri" panose="020F0502020204030204" pitchFamily="34" charset="0"/>
              </a:rPr>
              <a:t>New York</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Orland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Paris</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mn-lt"/>
                <a:cs typeface="Calibri" panose="020F0502020204030204" pitchFamily="34" charset="0"/>
              </a:rPr>
              <a:t>Pune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São Paulo  </a:t>
            </a:r>
            <a:r>
              <a:rPr lang="en-US" altLang="en-US" sz="1099" b="0" i="0" kern="1200" noProof="0" dirty="0">
                <a:solidFill>
                  <a:schemeClr val="bg1"/>
                </a:solidFill>
                <a:latin typeface="+mn-lt"/>
                <a:ea typeface="+mn-ea"/>
                <a:cs typeface="Calibri" panose="020F0502020204030204" pitchFamily="34" charset="0"/>
              </a:rPr>
              <a:t>Singapore</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Toronto</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Vienna </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mn-lt"/>
                <a:ea typeface="+mn-ea"/>
                <a:cs typeface="Calibri" panose="020F0502020204030204" pitchFamily="34" charset="0"/>
              </a:rPr>
              <a:t> </a:t>
            </a:r>
            <a:r>
              <a:rPr lang="en-US" altLang="en-US" sz="1099" b="0" i="0" kern="1200" noProof="0" dirty="0">
                <a:solidFill>
                  <a:schemeClr val="bg1"/>
                </a:solidFill>
                <a:latin typeface="+mn-lt"/>
                <a:ea typeface="+mn-ea"/>
                <a:cs typeface="Calibri" panose="020F0502020204030204" pitchFamily="34" charset="0"/>
                <a:sym typeface="Wingdings"/>
              </a:rPr>
              <a:t> </a:t>
            </a:r>
            <a:r>
              <a:rPr lang="en-US" altLang="en-US" sz="1099" b="0" i="0" kern="1200" noProof="0" dirty="0">
                <a:solidFill>
                  <a:schemeClr val="bg1"/>
                </a:solidFill>
                <a:latin typeface="+mn-lt"/>
                <a:ea typeface="+mn-ea"/>
                <a:cs typeface="Calibri" panose="020F0502020204030204" pitchFamily="34" charset="0"/>
              </a:rPr>
              <a:t>Washington, D.C.</a:t>
            </a:r>
            <a:r>
              <a:rPr lang="en-US" altLang="en-US" sz="1099" b="0" i="0" kern="1200" noProof="0" dirty="0">
                <a:solidFill>
                  <a:schemeClr val="bg1"/>
                </a:solidFill>
                <a:latin typeface="+mn-lt"/>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mn-lt"/>
                <a:ea typeface="+mn-ea"/>
                <a:cs typeface="Calibri" panose="020F0502020204030204" pitchFamily="34" charset="0"/>
              </a:rPr>
              <a:t>Zurich</a:t>
            </a:r>
          </a:p>
        </p:txBody>
      </p:sp>
    </p:spTree>
    <p:extLst>
      <p:ext uri="{BB962C8B-B14F-4D97-AF65-F5344CB8AC3E}">
        <p14:creationId xmlns:p14="http://schemas.microsoft.com/office/powerpoint/2010/main" val="371172641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ack Page 1">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90E0F1C4-B746-407C-9D8B-36EE71CD53E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22" name="Graphic 21">
            <a:extLst>
              <a:ext uri="{FF2B5EF4-FFF2-40B4-BE49-F238E27FC236}">
                <a16:creationId xmlns:a16="http://schemas.microsoft.com/office/drawing/2014/main" id="{8682A5C8-57CC-418F-9B9A-0BB3F0266E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46" name="Group 45">
            <a:extLst>
              <a:ext uri="{FF2B5EF4-FFF2-40B4-BE49-F238E27FC236}">
                <a16:creationId xmlns:a16="http://schemas.microsoft.com/office/drawing/2014/main" id="{34603CFC-C4D7-4B38-B08C-44658F25F78A}"/>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47" name="Freeform: Shape 46">
              <a:extLst>
                <a:ext uri="{FF2B5EF4-FFF2-40B4-BE49-F238E27FC236}">
                  <a16:creationId xmlns:a16="http://schemas.microsoft.com/office/drawing/2014/main" id="{9A914D15-05FF-42BC-B7B9-D711EB9E5192}"/>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2E68111D-6C10-4A86-BF64-B50A24A19F46}"/>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343D9BA0-FCBB-453A-BC90-5FE989244173}"/>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BE5AAD7D-1AE8-42EA-BFC5-1188A7D14251}"/>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29420FDA-F896-4F32-B8BE-5806F9134199}"/>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F0C06A80-86E8-FC65-2A72-8108B3745B91}"/>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3C48FB44-30E7-F912-D977-F6DF65CF6E6B}"/>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3" name="Graphic 12">
                <a:hlinkClick r:id="rId4"/>
                <a:extLst>
                  <a:ext uri="{FF2B5EF4-FFF2-40B4-BE49-F238E27FC236}">
                    <a16:creationId xmlns:a16="http://schemas.microsoft.com/office/drawing/2014/main" id="{220E4F4F-D617-AA34-17DD-B8584EEEF60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75427" y="5825098"/>
                <a:ext cx="102583" cy="192343"/>
              </a:xfrm>
              <a:prstGeom prst="rect">
                <a:avLst/>
              </a:prstGeom>
            </p:spPr>
          </p:pic>
          <p:pic>
            <p:nvPicPr>
              <p:cNvPr id="14" name="Graphic 13">
                <a:hlinkClick r:id="rId7"/>
                <a:extLst>
                  <a:ext uri="{FF2B5EF4-FFF2-40B4-BE49-F238E27FC236}">
                    <a16:creationId xmlns:a16="http://schemas.microsoft.com/office/drawing/2014/main" id="{BA78885E-7EBD-7CC8-5649-C5FE727F6FA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69918" y="5844002"/>
                <a:ext cx="206045" cy="154534"/>
              </a:xfrm>
              <a:prstGeom prst="rect">
                <a:avLst/>
              </a:prstGeom>
            </p:spPr>
          </p:pic>
          <p:pic>
            <p:nvPicPr>
              <p:cNvPr id="15" name="Graphic 14">
                <a:hlinkClick r:id="rId10"/>
                <a:extLst>
                  <a:ext uri="{FF2B5EF4-FFF2-40B4-BE49-F238E27FC236}">
                    <a16:creationId xmlns:a16="http://schemas.microsoft.com/office/drawing/2014/main" id="{0BC72B5D-8C64-B7D3-43F6-37B100ECB61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575529" y="5831663"/>
                <a:ext cx="168012" cy="179213"/>
              </a:xfrm>
              <a:prstGeom prst="rect">
                <a:avLst/>
              </a:prstGeom>
            </p:spPr>
          </p:pic>
          <p:pic>
            <p:nvPicPr>
              <p:cNvPr id="16" name="Graphic 15">
                <a:hlinkClick r:id="rId13"/>
                <a:extLst>
                  <a:ext uri="{FF2B5EF4-FFF2-40B4-BE49-F238E27FC236}">
                    <a16:creationId xmlns:a16="http://schemas.microsoft.com/office/drawing/2014/main" id="{AB798D3A-D015-9585-D132-E0BE5A93007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292666" y="5838261"/>
                <a:ext cx="166016" cy="166016"/>
              </a:xfrm>
              <a:prstGeom prst="rect">
                <a:avLst/>
              </a:prstGeom>
            </p:spPr>
          </p:pic>
        </p:grpSp>
        <p:pic>
          <p:nvPicPr>
            <p:cNvPr id="12" name="Graphic 11">
              <a:hlinkClick r:id="rId16"/>
              <a:extLst>
                <a:ext uri="{FF2B5EF4-FFF2-40B4-BE49-F238E27FC236}">
                  <a16:creationId xmlns:a16="http://schemas.microsoft.com/office/drawing/2014/main" id="{052D4A38-FD4B-C55D-A23D-2AF5FAF562B3}"/>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42063297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ack Page 2">
    <p:bg>
      <p:bgPr>
        <a:solidFill>
          <a:schemeClr val="tx1"/>
        </a:solidFill>
        <a:effectLst/>
      </p:bgPr>
    </p:bg>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5F952431-DD89-42FA-A634-383F002B793F}"/>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40" name="Graphic 39">
            <a:extLst>
              <a:ext uri="{FF2B5EF4-FFF2-40B4-BE49-F238E27FC236}">
                <a16:creationId xmlns:a16="http://schemas.microsoft.com/office/drawing/2014/main" id="{EE713FA0-A367-4BF8-B443-CC41A96FC59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49" name="Group 48">
            <a:extLst>
              <a:ext uri="{FF2B5EF4-FFF2-40B4-BE49-F238E27FC236}">
                <a16:creationId xmlns:a16="http://schemas.microsoft.com/office/drawing/2014/main" id="{0DED2ADE-28CB-43B4-99E0-8631E4244732}"/>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50" name="Freeform: Shape 49">
              <a:extLst>
                <a:ext uri="{FF2B5EF4-FFF2-40B4-BE49-F238E27FC236}">
                  <a16:creationId xmlns:a16="http://schemas.microsoft.com/office/drawing/2014/main" id="{631A41C8-FFAB-427D-9C07-0C2416E60B0F}"/>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A152A0BC-391D-40DD-8E70-2E1D61509C30}"/>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14B3A31C-7483-4030-A5FD-CC564348944C}"/>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26B43FEB-0118-4696-99FE-7300AC87248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A41E610B-48CC-4526-9044-AC5B12B6539B}"/>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CA74A648-6D85-96B2-49CB-301AE03C8D60}"/>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DB7EE3CE-FC50-57DF-81AE-4AFDE077CE13}"/>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3" name="Graphic 12">
                <a:hlinkClick r:id="rId4"/>
                <a:extLst>
                  <a:ext uri="{FF2B5EF4-FFF2-40B4-BE49-F238E27FC236}">
                    <a16:creationId xmlns:a16="http://schemas.microsoft.com/office/drawing/2014/main" id="{4249491F-5EC3-602A-B5FD-4AE95E9C05B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75427" y="5825098"/>
                <a:ext cx="102583" cy="192343"/>
              </a:xfrm>
              <a:prstGeom prst="rect">
                <a:avLst/>
              </a:prstGeom>
            </p:spPr>
          </p:pic>
          <p:pic>
            <p:nvPicPr>
              <p:cNvPr id="14" name="Graphic 13">
                <a:hlinkClick r:id="rId7"/>
                <a:extLst>
                  <a:ext uri="{FF2B5EF4-FFF2-40B4-BE49-F238E27FC236}">
                    <a16:creationId xmlns:a16="http://schemas.microsoft.com/office/drawing/2014/main" id="{9119859B-6D2B-8CD9-EFC3-35DE121B93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69918" y="5844002"/>
                <a:ext cx="206045" cy="154534"/>
              </a:xfrm>
              <a:prstGeom prst="rect">
                <a:avLst/>
              </a:prstGeom>
            </p:spPr>
          </p:pic>
          <p:pic>
            <p:nvPicPr>
              <p:cNvPr id="15" name="Graphic 14">
                <a:hlinkClick r:id="rId10"/>
                <a:extLst>
                  <a:ext uri="{FF2B5EF4-FFF2-40B4-BE49-F238E27FC236}">
                    <a16:creationId xmlns:a16="http://schemas.microsoft.com/office/drawing/2014/main" id="{0D7B5E4A-8B1D-A16A-503B-80F84D0F15D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2575529" y="5831663"/>
                <a:ext cx="168012" cy="179213"/>
              </a:xfrm>
              <a:prstGeom prst="rect">
                <a:avLst/>
              </a:prstGeom>
            </p:spPr>
          </p:pic>
          <p:pic>
            <p:nvPicPr>
              <p:cNvPr id="16" name="Graphic 15">
                <a:hlinkClick r:id="rId13"/>
                <a:extLst>
                  <a:ext uri="{FF2B5EF4-FFF2-40B4-BE49-F238E27FC236}">
                    <a16:creationId xmlns:a16="http://schemas.microsoft.com/office/drawing/2014/main" id="{5F52993E-9BC3-92B9-EDA6-59CE6A81BE75}"/>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292666" y="5838261"/>
                <a:ext cx="166016" cy="166016"/>
              </a:xfrm>
              <a:prstGeom prst="rect">
                <a:avLst/>
              </a:prstGeom>
            </p:spPr>
          </p:pic>
        </p:grpSp>
        <p:pic>
          <p:nvPicPr>
            <p:cNvPr id="12" name="Graphic 11">
              <a:hlinkClick r:id="rId16"/>
              <a:extLst>
                <a:ext uri="{FF2B5EF4-FFF2-40B4-BE49-F238E27FC236}">
                  <a16:creationId xmlns:a16="http://schemas.microsoft.com/office/drawing/2014/main" id="{028FD965-3DC0-0E6B-D91F-2A59C3288C32}"/>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28459965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ack P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F1ADD7B-DF48-4D30-B00D-70AC1C3802B0}"/>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28" name="TextBox 27">
            <a:extLst>
              <a:ext uri="{FF2B5EF4-FFF2-40B4-BE49-F238E27FC236}">
                <a16:creationId xmlns:a16="http://schemas.microsoft.com/office/drawing/2014/main" id="{C5C6EC8D-3D7D-4340-90DE-31B6CB20EE71}"/>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43" name="Graphic 42">
            <a:extLst>
              <a:ext uri="{FF2B5EF4-FFF2-40B4-BE49-F238E27FC236}">
                <a16:creationId xmlns:a16="http://schemas.microsoft.com/office/drawing/2014/main" id="{2A144763-C616-41A4-AA80-FA2D963F7C8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2" name="Group 51">
            <a:extLst>
              <a:ext uri="{FF2B5EF4-FFF2-40B4-BE49-F238E27FC236}">
                <a16:creationId xmlns:a16="http://schemas.microsoft.com/office/drawing/2014/main" id="{F7FA3CB8-460B-48C8-BDC3-18746CE4B90C}"/>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53" name="Freeform: Shape 52">
              <a:extLst>
                <a:ext uri="{FF2B5EF4-FFF2-40B4-BE49-F238E27FC236}">
                  <a16:creationId xmlns:a16="http://schemas.microsoft.com/office/drawing/2014/main" id="{8EEADBC9-33D6-4D8A-9982-4EE9AD234FD5}"/>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C32956BD-0E4F-4E9D-89B4-9D7430113250}"/>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1AE6BFBC-DAF9-4FE5-983C-C8D54750E65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CAB596BC-7365-48ED-947B-67E4C342F9D4}"/>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0E46D2F0-4799-47BF-9871-B5211E1D32D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E1F3390A-E243-7546-89E7-43A7252CA128}"/>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FEE26453-50B2-D751-60A2-9A791CE7F39E}"/>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4" name="Graphic 13">
                <a:hlinkClick r:id="rId5"/>
                <a:extLst>
                  <a:ext uri="{FF2B5EF4-FFF2-40B4-BE49-F238E27FC236}">
                    <a16:creationId xmlns:a16="http://schemas.microsoft.com/office/drawing/2014/main" id="{38D1C997-8E8D-D9E4-06E1-E5AAB4A407A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15" name="Graphic 14">
                <a:hlinkClick r:id="rId8"/>
                <a:extLst>
                  <a:ext uri="{FF2B5EF4-FFF2-40B4-BE49-F238E27FC236}">
                    <a16:creationId xmlns:a16="http://schemas.microsoft.com/office/drawing/2014/main" id="{A94B7E35-30CC-A846-6480-9000BA0A110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16" name="Graphic 15">
                <a:hlinkClick r:id="rId11"/>
                <a:extLst>
                  <a:ext uri="{FF2B5EF4-FFF2-40B4-BE49-F238E27FC236}">
                    <a16:creationId xmlns:a16="http://schemas.microsoft.com/office/drawing/2014/main" id="{A05D7768-53DA-BD40-492F-9A6BF8F433D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17" name="Graphic 16">
                <a:hlinkClick r:id="rId14"/>
                <a:extLst>
                  <a:ext uri="{FF2B5EF4-FFF2-40B4-BE49-F238E27FC236}">
                    <a16:creationId xmlns:a16="http://schemas.microsoft.com/office/drawing/2014/main" id="{49CD74D6-CB28-E911-6809-34C32666407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12" name="Graphic 11">
              <a:hlinkClick r:id="rId17"/>
              <a:extLst>
                <a:ext uri="{FF2B5EF4-FFF2-40B4-BE49-F238E27FC236}">
                  <a16:creationId xmlns:a16="http://schemas.microsoft.com/office/drawing/2014/main" id="{1F310180-7DCC-5B72-1B8E-C5BEA15E6D7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330204661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ack Page 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BE79B2E-0C13-4884-B21E-2DFFFAB54EA8}"/>
              </a:ext>
              <a:ext uri="{C183D7F6-B498-43B3-948B-1728B52AA6E4}">
                <adec:decorative xmlns:adec="http://schemas.microsoft.com/office/drawing/2017/decorative" val="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18" name="TextBox 17">
            <a:extLst>
              <a:ext uri="{FF2B5EF4-FFF2-40B4-BE49-F238E27FC236}">
                <a16:creationId xmlns:a16="http://schemas.microsoft.com/office/drawing/2014/main" id="{90E0F1C4-B746-407C-9D8B-36EE71CD53EB}"/>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43" name="Graphic 42">
            <a:extLst>
              <a:ext uri="{FF2B5EF4-FFF2-40B4-BE49-F238E27FC236}">
                <a16:creationId xmlns:a16="http://schemas.microsoft.com/office/drawing/2014/main" id="{6DF5A58C-BEBA-45A6-9CC5-F9BE3EF60AE2}"/>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2" name="Group 51">
            <a:extLst>
              <a:ext uri="{FF2B5EF4-FFF2-40B4-BE49-F238E27FC236}">
                <a16:creationId xmlns:a16="http://schemas.microsoft.com/office/drawing/2014/main" id="{5EF471FA-2B8E-43F2-B15D-F986601D64C8}"/>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tx1">
              <a:alpha val="10000"/>
            </a:schemeClr>
          </a:solidFill>
        </p:grpSpPr>
        <p:sp>
          <p:nvSpPr>
            <p:cNvPr id="53" name="Freeform: Shape 52">
              <a:extLst>
                <a:ext uri="{FF2B5EF4-FFF2-40B4-BE49-F238E27FC236}">
                  <a16:creationId xmlns:a16="http://schemas.microsoft.com/office/drawing/2014/main" id="{E939174D-2A82-4025-B186-37CE5FD99F4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E0F544C6-04AC-4F3B-BB8E-D450BD289CAA}"/>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6C8DD87F-3C75-4D2D-A9C5-B90521C32E67}"/>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636CEB02-6770-4FF8-B024-EC07DE633C34}"/>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E22632E1-0FD6-4633-AF60-E94632BA7C53}"/>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47844B2F-1D5B-FEB7-E0F4-5670822A5B55}"/>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39D268FB-3BBE-A93A-2FE5-B04FA10C9284}"/>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3" name="Graphic 12">
                <a:hlinkClick r:id="rId5"/>
                <a:extLst>
                  <a:ext uri="{FF2B5EF4-FFF2-40B4-BE49-F238E27FC236}">
                    <a16:creationId xmlns:a16="http://schemas.microsoft.com/office/drawing/2014/main" id="{372D80A2-B070-5822-75F4-E5D521F7F2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15" name="Graphic 14">
                <a:hlinkClick r:id="rId8"/>
                <a:extLst>
                  <a:ext uri="{FF2B5EF4-FFF2-40B4-BE49-F238E27FC236}">
                    <a16:creationId xmlns:a16="http://schemas.microsoft.com/office/drawing/2014/main" id="{6A09BA4F-F8E4-1CC2-D6BD-8807AE9E5E0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16" name="Graphic 15">
                <a:hlinkClick r:id="rId11"/>
                <a:extLst>
                  <a:ext uri="{FF2B5EF4-FFF2-40B4-BE49-F238E27FC236}">
                    <a16:creationId xmlns:a16="http://schemas.microsoft.com/office/drawing/2014/main" id="{94070C50-2D28-BCC6-F55E-A4D7302DF41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17" name="Graphic 16">
                <a:hlinkClick r:id="rId14"/>
                <a:extLst>
                  <a:ext uri="{FF2B5EF4-FFF2-40B4-BE49-F238E27FC236}">
                    <a16:creationId xmlns:a16="http://schemas.microsoft.com/office/drawing/2014/main" id="{56E64517-13AF-9F8B-51CB-D75C7EAAD13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12" name="Graphic 11">
              <a:hlinkClick r:id="rId17"/>
              <a:extLst>
                <a:ext uri="{FF2B5EF4-FFF2-40B4-BE49-F238E27FC236}">
                  <a16:creationId xmlns:a16="http://schemas.microsoft.com/office/drawing/2014/main" id="{C26CAD85-49C7-116B-F251-65A54FC555E8}"/>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3865641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ack Page 5">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1BAFFA5-58E6-4186-9D53-1BD1940D8CB1}"/>
              </a:ext>
              <a:ext uri="{C183D7F6-B498-43B3-948B-1728B52AA6E4}">
                <adec:decorative xmlns:adec="http://schemas.microsoft.com/office/drawing/2017/decorative" val="1"/>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37" name="TextBox 36">
            <a:extLst>
              <a:ext uri="{FF2B5EF4-FFF2-40B4-BE49-F238E27FC236}">
                <a16:creationId xmlns:a16="http://schemas.microsoft.com/office/drawing/2014/main" id="{5F952431-DD89-42FA-A634-383F002B793F}"/>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28" name="Graphic 27">
            <a:extLst>
              <a:ext uri="{FF2B5EF4-FFF2-40B4-BE49-F238E27FC236}">
                <a16:creationId xmlns:a16="http://schemas.microsoft.com/office/drawing/2014/main" id="{AEF4F2C1-8ECD-4602-9C54-7AB71505DF6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0" name="Group 39">
            <a:extLst>
              <a:ext uri="{FF2B5EF4-FFF2-40B4-BE49-F238E27FC236}">
                <a16:creationId xmlns:a16="http://schemas.microsoft.com/office/drawing/2014/main" id="{BAC5D530-3EDD-4D5C-AE49-2CF3476A8063}"/>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41" name="Freeform: Shape 40">
              <a:extLst>
                <a:ext uri="{FF2B5EF4-FFF2-40B4-BE49-F238E27FC236}">
                  <a16:creationId xmlns:a16="http://schemas.microsoft.com/office/drawing/2014/main" id="{1A6AEBF4-0C48-415C-B6F3-F7B1AF182C07}"/>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2B8DA244-7392-468E-A6A6-4A9A03E5F4A8}"/>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E36CD6C-1286-4467-A26F-E2A979B48522}"/>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0D2381C0-B874-4045-B4AF-1F30F47B25AC}"/>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0EACB49-2656-4F50-8EC6-2F934035A23E}"/>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1CCEA9EC-7692-BDB8-7E36-C8209E33CD9C}"/>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AEB02228-AC05-3233-9D92-CEB9C64DF40E}"/>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4" name="Graphic 13">
                <a:hlinkClick r:id="rId5"/>
                <a:extLst>
                  <a:ext uri="{FF2B5EF4-FFF2-40B4-BE49-F238E27FC236}">
                    <a16:creationId xmlns:a16="http://schemas.microsoft.com/office/drawing/2014/main" id="{7F00A096-6ED0-2939-E9A5-2E3212A221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15" name="Graphic 14">
                <a:hlinkClick r:id="rId8"/>
                <a:extLst>
                  <a:ext uri="{FF2B5EF4-FFF2-40B4-BE49-F238E27FC236}">
                    <a16:creationId xmlns:a16="http://schemas.microsoft.com/office/drawing/2014/main" id="{0A422B98-79D8-20BE-8966-684F0C92510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16" name="Graphic 15">
                <a:hlinkClick r:id="rId11"/>
                <a:extLst>
                  <a:ext uri="{FF2B5EF4-FFF2-40B4-BE49-F238E27FC236}">
                    <a16:creationId xmlns:a16="http://schemas.microsoft.com/office/drawing/2014/main" id="{7E3CBB3C-8156-8FA2-F404-D1375E784CE1}"/>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17" name="Graphic 16">
                <a:hlinkClick r:id="rId14"/>
                <a:extLst>
                  <a:ext uri="{FF2B5EF4-FFF2-40B4-BE49-F238E27FC236}">
                    <a16:creationId xmlns:a16="http://schemas.microsoft.com/office/drawing/2014/main" id="{7DA2D0A9-9E3B-4C6E-1A86-74E946EFBCD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12" name="Graphic 11">
              <a:hlinkClick r:id="rId17"/>
              <a:extLst>
                <a:ext uri="{FF2B5EF4-FFF2-40B4-BE49-F238E27FC236}">
                  <a16:creationId xmlns:a16="http://schemas.microsoft.com/office/drawing/2014/main" id="{F43F20E7-EE85-778B-BEE9-A2F77EF93B44}"/>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231900893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ack Page 6">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63160D4-9D24-4229-8EB7-8D4F906D0AD3}"/>
              </a:ext>
              <a:ext uri="{C183D7F6-B498-43B3-948B-1728B52AA6E4}">
                <adec:decorative xmlns:adec="http://schemas.microsoft.com/office/drawing/2017/decorative" val="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22" name="TextBox 21">
            <a:extLst>
              <a:ext uri="{FF2B5EF4-FFF2-40B4-BE49-F238E27FC236}">
                <a16:creationId xmlns:a16="http://schemas.microsoft.com/office/drawing/2014/main" id="{0E4A3830-4DE6-404A-AD26-1BB4EFA5834A}"/>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pic>
        <p:nvPicPr>
          <p:cNvPr id="41" name="Graphic 40">
            <a:extLst>
              <a:ext uri="{FF2B5EF4-FFF2-40B4-BE49-F238E27FC236}">
                <a16:creationId xmlns:a16="http://schemas.microsoft.com/office/drawing/2014/main" id="{4F1981E7-DA04-488B-850B-49F38A395241}"/>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0" name="Group 49">
            <a:extLst>
              <a:ext uri="{FF2B5EF4-FFF2-40B4-BE49-F238E27FC236}">
                <a16:creationId xmlns:a16="http://schemas.microsoft.com/office/drawing/2014/main" id="{0C9EF089-A884-48AD-B0B3-155D2E17741C}"/>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51" name="Freeform: Shape 50">
              <a:extLst>
                <a:ext uri="{FF2B5EF4-FFF2-40B4-BE49-F238E27FC236}">
                  <a16:creationId xmlns:a16="http://schemas.microsoft.com/office/drawing/2014/main" id="{B068429E-F404-4F1F-8CC2-E396689CA44F}"/>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93763696-2C3B-468A-A448-BBFDCCC9B34B}"/>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83DB8D1C-4AA0-4677-AABF-4B6EC16BC1CF}"/>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26B7069F-15B9-4C9B-A311-8307142ECBCE}"/>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423679CF-832A-4B29-9E32-E41C376A992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0" name="Group 9">
            <a:extLst>
              <a:ext uri="{FF2B5EF4-FFF2-40B4-BE49-F238E27FC236}">
                <a16:creationId xmlns:a16="http://schemas.microsoft.com/office/drawing/2014/main" id="{D4222F6A-FE51-C204-3773-E675B40C8139}"/>
              </a:ext>
              <a:ext uri="{C183D7F6-B498-43B3-948B-1728B52AA6E4}">
                <adec:decorative xmlns:adec="http://schemas.microsoft.com/office/drawing/2017/decorative" val="1"/>
              </a:ext>
            </a:extLst>
          </p:cNvPr>
          <p:cNvGrpSpPr/>
          <p:nvPr userDrawn="1"/>
        </p:nvGrpSpPr>
        <p:grpSpPr>
          <a:xfrm>
            <a:off x="1085548" y="5530216"/>
            <a:ext cx="1263400" cy="524118"/>
            <a:chOff x="1085548" y="5530216"/>
            <a:chExt cx="1263400" cy="524118"/>
          </a:xfrm>
        </p:grpSpPr>
        <p:grpSp>
          <p:nvGrpSpPr>
            <p:cNvPr id="11" name="Group 10">
              <a:extLst>
                <a:ext uri="{FF2B5EF4-FFF2-40B4-BE49-F238E27FC236}">
                  <a16:creationId xmlns:a16="http://schemas.microsoft.com/office/drawing/2014/main" id="{0DA9FA44-80D4-5BF5-5978-585E20D743F6}"/>
                </a:ext>
              </a:extLst>
            </p:cNvPr>
            <p:cNvGrpSpPr>
              <a:grpSpLocks noChangeAspect="1"/>
            </p:cNvGrpSpPr>
            <p:nvPr userDrawn="1"/>
          </p:nvGrpSpPr>
          <p:grpSpPr>
            <a:xfrm>
              <a:off x="1085548" y="5803324"/>
              <a:ext cx="1263400" cy="251010"/>
              <a:chOff x="1775427" y="5825098"/>
              <a:chExt cx="968114" cy="192343"/>
            </a:xfrm>
            <a:solidFill>
              <a:schemeClr val="accent1"/>
            </a:solidFill>
          </p:grpSpPr>
          <p:pic>
            <p:nvPicPr>
              <p:cNvPr id="14" name="Graphic 13">
                <a:hlinkClick r:id="rId5"/>
                <a:extLst>
                  <a:ext uri="{FF2B5EF4-FFF2-40B4-BE49-F238E27FC236}">
                    <a16:creationId xmlns:a16="http://schemas.microsoft.com/office/drawing/2014/main" id="{FA8C0DE5-8BCF-2A67-7AF6-E8CA3BCE12D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75427" y="5825098"/>
                <a:ext cx="102583" cy="192343"/>
              </a:xfrm>
              <a:prstGeom prst="rect">
                <a:avLst/>
              </a:prstGeom>
            </p:spPr>
          </p:pic>
          <p:pic>
            <p:nvPicPr>
              <p:cNvPr id="15" name="Graphic 14">
                <a:hlinkClick r:id="rId8"/>
                <a:extLst>
                  <a:ext uri="{FF2B5EF4-FFF2-40B4-BE49-F238E27FC236}">
                    <a16:creationId xmlns:a16="http://schemas.microsoft.com/office/drawing/2014/main" id="{4104E208-3086-8C9C-FC18-158050174D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69918" y="5844002"/>
                <a:ext cx="206045" cy="154534"/>
              </a:xfrm>
              <a:prstGeom prst="rect">
                <a:avLst/>
              </a:prstGeom>
            </p:spPr>
          </p:pic>
          <p:pic>
            <p:nvPicPr>
              <p:cNvPr id="16" name="Graphic 15">
                <a:hlinkClick r:id="rId11"/>
                <a:extLst>
                  <a:ext uri="{FF2B5EF4-FFF2-40B4-BE49-F238E27FC236}">
                    <a16:creationId xmlns:a16="http://schemas.microsoft.com/office/drawing/2014/main" id="{1AD2DBCA-5AE2-1883-343F-0FF9225FDA3A}"/>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2575529" y="5831663"/>
                <a:ext cx="168012" cy="179213"/>
              </a:xfrm>
              <a:prstGeom prst="rect">
                <a:avLst/>
              </a:prstGeom>
            </p:spPr>
          </p:pic>
          <p:pic>
            <p:nvPicPr>
              <p:cNvPr id="17" name="Graphic 16">
                <a:hlinkClick r:id="rId14"/>
                <a:extLst>
                  <a:ext uri="{FF2B5EF4-FFF2-40B4-BE49-F238E27FC236}">
                    <a16:creationId xmlns:a16="http://schemas.microsoft.com/office/drawing/2014/main" id="{FB20BE46-C5B9-24FA-C5FC-E0B09000E0D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292666" y="5838261"/>
                <a:ext cx="166016" cy="166016"/>
              </a:xfrm>
              <a:prstGeom prst="rect">
                <a:avLst/>
              </a:prstGeom>
            </p:spPr>
          </p:pic>
        </p:grpSp>
        <p:pic>
          <p:nvPicPr>
            <p:cNvPr id="12" name="Graphic 11">
              <a:hlinkClick r:id="rId17"/>
              <a:extLst>
                <a:ext uri="{FF2B5EF4-FFF2-40B4-BE49-F238E27FC236}">
                  <a16:creationId xmlns:a16="http://schemas.microsoft.com/office/drawing/2014/main" id="{ADFB87C4-6BBC-DA3D-DB7A-EB0191069FA3}"/>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85548" y="5530216"/>
              <a:ext cx="1263400" cy="178362"/>
            </a:xfrm>
            <a:prstGeom prst="rect">
              <a:avLst/>
            </a:prstGeom>
          </p:spPr>
        </p:pic>
      </p:grpSp>
    </p:spTree>
    <p:extLst>
      <p:ext uri="{BB962C8B-B14F-4D97-AF65-F5344CB8AC3E}">
        <p14:creationId xmlns:p14="http://schemas.microsoft.com/office/powerpoint/2010/main" val="347635898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tx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BD2800B-45A3-4CAA-8BE1-DB38704AAE7B}"/>
              </a:ext>
              <a:ext uri="{C183D7F6-B498-43B3-948B-1728B52AA6E4}">
                <adec:decorative xmlns:adec="http://schemas.microsoft.com/office/drawing/2017/decorative" val="1"/>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grpSp>
        <p:nvGrpSpPr>
          <p:cNvPr id="31" name="Group 30">
            <a:extLst>
              <a:ext uri="{FF2B5EF4-FFF2-40B4-BE49-F238E27FC236}">
                <a16:creationId xmlns:a16="http://schemas.microsoft.com/office/drawing/2014/main" id="{7AF0178D-E788-4736-90BC-AF8ECE6E25EE}"/>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32" name="Freeform: Shape 31">
              <a:extLst>
                <a:ext uri="{FF2B5EF4-FFF2-40B4-BE49-F238E27FC236}">
                  <a16:creationId xmlns:a16="http://schemas.microsoft.com/office/drawing/2014/main" id="{DC941E64-F765-4286-A42B-1BC3A24F1ACC}"/>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C2968466-31E3-45BC-9B20-6E2AB47D06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F808203-117E-494A-83AB-562ED723FFE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D3EC798F-9315-4D1D-948C-C990DF323F0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C7A66205-67DC-443D-9414-D6FC3080E355}"/>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18" name="Graphic 17">
            <a:extLst>
              <a:ext uri="{FF2B5EF4-FFF2-40B4-BE49-F238E27FC236}">
                <a16:creationId xmlns:a16="http://schemas.microsoft.com/office/drawing/2014/main" id="{3EDCC51B-B038-4B6C-9051-68E49E742CC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
        <p:nvSpPr>
          <p:cNvPr id="27" name="Picture Placeholder 23">
            <a:extLst>
              <a:ext uri="{FF2B5EF4-FFF2-40B4-BE49-F238E27FC236}">
                <a16:creationId xmlns:a16="http://schemas.microsoft.com/office/drawing/2014/main" id="{F89B8E05-A21D-422C-883C-869FCA03E61A}"/>
              </a:ext>
              <a:ext uri="{C183D7F6-B498-43B3-948B-1728B52AA6E4}">
                <adec:decorative xmlns:adec="http://schemas.microsoft.com/office/drawing/2017/decorative" val="1"/>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25" name="Title 1">
            <a:extLst>
              <a:ext uri="{FF2B5EF4-FFF2-40B4-BE49-F238E27FC236}">
                <a16:creationId xmlns:a16="http://schemas.microsoft.com/office/drawing/2014/main" id="{9AC95E5F-E4C2-4214-966D-946B7833AB3A}"/>
              </a:ext>
            </a:extLst>
          </p:cNvPr>
          <p:cNvSpPr>
            <a:spLocks noGrp="1"/>
          </p:cNvSpPr>
          <p:nvPr>
            <p:ph type="title" hasCustomPrompt="1"/>
          </p:nvPr>
        </p:nvSpPr>
        <p:spPr>
          <a:xfrm>
            <a:off x="1085548" y="4755595"/>
            <a:ext cx="5394105" cy="720197"/>
          </a:xfrm>
          <a:blipFill dpi="0" rotWithShape="1">
            <a:blip r:embed="rId5"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dirty="0"/>
              <a:t>Presentation title goes here</a:t>
            </a:r>
            <a:endParaRPr lang="en-GB" dirty="0"/>
          </a:p>
        </p:txBody>
      </p:sp>
      <p:sp>
        <p:nvSpPr>
          <p:cNvPr id="26" name="Text Placeholder 3">
            <a:extLst>
              <a:ext uri="{FF2B5EF4-FFF2-40B4-BE49-F238E27FC236}">
                <a16:creationId xmlns:a16="http://schemas.microsoft.com/office/drawing/2014/main" id="{7E285B1B-D9E4-430E-A1C6-FEDA9D9E3683}"/>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75000"/>
                  </a:schemeClr>
                </a:solidFill>
                <a:latin typeface="Century Gothic" panose="020B0502020202020204" pitchFamily="34" charset="0"/>
              </a:defRPr>
            </a:lvl1pPr>
          </a:lstStyle>
          <a:p>
            <a:pPr lvl="0"/>
            <a:r>
              <a:rPr lang="en-US" dirty="0"/>
              <a:t>Subtitle goes here</a:t>
            </a:r>
          </a:p>
        </p:txBody>
      </p:sp>
      <p:sp>
        <p:nvSpPr>
          <p:cNvPr id="28" name="Text Placeholder 2">
            <a:extLst>
              <a:ext uri="{FF2B5EF4-FFF2-40B4-BE49-F238E27FC236}">
                <a16:creationId xmlns:a16="http://schemas.microsoft.com/office/drawing/2014/main" id="{078DABAB-B018-4B06-A8AD-EB985D1C8C9C}"/>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29" name="Text Placeholder 4">
            <a:extLst>
              <a:ext uri="{FF2B5EF4-FFF2-40B4-BE49-F238E27FC236}">
                <a16:creationId xmlns:a16="http://schemas.microsoft.com/office/drawing/2014/main" id="{0DD79F07-8A50-4B0D-BDBB-4367D1D12FA0}"/>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30" name="Text Placeholder 9">
            <a:extLst>
              <a:ext uri="{FF2B5EF4-FFF2-40B4-BE49-F238E27FC236}">
                <a16:creationId xmlns:a16="http://schemas.microsoft.com/office/drawing/2014/main" id="{342390CD-71FF-409A-998F-CAD5E4F3C6A7}"/>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801310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chemeClr val="tx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0560121-3C8F-45BC-8638-80F5DC784486}"/>
              </a:ext>
              <a:ext uri="{C183D7F6-B498-43B3-948B-1728B52AA6E4}">
                <adec:decorative xmlns:adec="http://schemas.microsoft.com/office/drawing/2017/decorative" val="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grpSp>
        <p:nvGrpSpPr>
          <p:cNvPr id="31" name="Group 30">
            <a:extLst>
              <a:ext uri="{FF2B5EF4-FFF2-40B4-BE49-F238E27FC236}">
                <a16:creationId xmlns:a16="http://schemas.microsoft.com/office/drawing/2014/main" id="{7AF0178D-E788-4736-90BC-AF8ECE6E25EE}"/>
              </a:ext>
              <a:ext uri="{C183D7F6-B498-43B3-948B-1728B52AA6E4}">
                <adec:decorative xmlns:adec="http://schemas.microsoft.com/office/drawing/2017/decorative" val="1"/>
              </a:ext>
            </a:extLst>
          </p:cNvPr>
          <p:cNvGrpSpPr/>
          <p:nvPr userDrawn="1"/>
        </p:nvGrpSpPr>
        <p:grpSpPr>
          <a:xfrm>
            <a:off x="1085548" y="350282"/>
            <a:ext cx="10020904" cy="3398903"/>
            <a:chOff x="1085548" y="350282"/>
            <a:chExt cx="10020904" cy="3398903"/>
          </a:xfrm>
          <a:solidFill>
            <a:schemeClr val="bg1">
              <a:alpha val="15000"/>
            </a:schemeClr>
          </a:solidFill>
        </p:grpSpPr>
        <p:sp>
          <p:nvSpPr>
            <p:cNvPr id="32" name="Freeform: Shape 31">
              <a:extLst>
                <a:ext uri="{FF2B5EF4-FFF2-40B4-BE49-F238E27FC236}">
                  <a16:creationId xmlns:a16="http://schemas.microsoft.com/office/drawing/2014/main" id="{DC941E64-F765-4286-A42B-1BC3A24F1ACC}"/>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C2968466-31E3-45BC-9B20-6E2AB47D06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F808203-117E-494A-83AB-562ED723FFE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D3EC798F-9315-4D1D-948C-C990DF323F0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C7A66205-67DC-443D-9414-D6FC3080E355}"/>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dirty="0"/>
            </a:p>
          </p:txBody>
        </p:sp>
      </p:grpSp>
      <p:pic>
        <p:nvPicPr>
          <p:cNvPr id="16" name="Graphic 15">
            <a:extLst>
              <a:ext uri="{FF2B5EF4-FFF2-40B4-BE49-F238E27FC236}">
                <a16:creationId xmlns:a16="http://schemas.microsoft.com/office/drawing/2014/main" id="{D02F153D-FDEB-4A09-92EF-CA9239B69928}"/>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
        <p:nvSpPr>
          <p:cNvPr id="27" name="Picture Placeholder 23">
            <a:extLst>
              <a:ext uri="{FF2B5EF4-FFF2-40B4-BE49-F238E27FC236}">
                <a16:creationId xmlns:a16="http://schemas.microsoft.com/office/drawing/2014/main" id="{F89B8E05-A21D-422C-883C-869FCA03E61A}"/>
              </a:ext>
              <a:ext uri="{C183D7F6-B498-43B3-948B-1728B52AA6E4}">
                <adec:decorative xmlns:adec="http://schemas.microsoft.com/office/drawing/2017/decorative" val="1"/>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25" name="Title 1">
            <a:extLst>
              <a:ext uri="{FF2B5EF4-FFF2-40B4-BE49-F238E27FC236}">
                <a16:creationId xmlns:a16="http://schemas.microsoft.com/office/drawing/2014/main" id="{9AC95E5F-E4C2-4214-966D-946B7833AB3A}"/>
              </a:ext>
            </a:extLst>
          </p:cNvPr>
          <p:cNvSpPr>
            <a:spLocks noGrp="1"/>
          </p:cNvSpPr>
          <p:nvPr>
            <p:ph type="title" hasCustomPrompt="1"/>
          </p:nvPr>
        </p:nvSpPr>
        <p:spPr>
          <a:xfrm>
            <a:off x="1085548" y="4755595"/>
            <a:ext cx="5394105" cy="720197"/>
          </a:xfrm>
          <a:blipFill dpi="0" rotWithShape="1">
            <a:blip r:embed="rId5"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dirty="0"/>
              <a:t>Presentation title goes here</a:t>
            </a:r>
            <a:endParaRPr lang="en-GB" dirty="0"/>
          </a:p>
        </p:txBody>
      </p:sp>
      <p:sp>
        <p:nvSpPr>
          <p:cNvPr id="26" name="Text Placeholder 3">
            <a:extLst>
              <a:ext uri="{FF2B5EF4-FFF2-40B4-BE49-F238E27FC236}">
                <a16:creationId xmlns:a16="http://schemas.microsoft.com/office/drawing/2014/main" id="{7E285B1B-D9E4-430E-A1C6-FEDA9D9E3683}"/>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none" baseline="0" dirty="0">
                <a:solidFill>
                  <a:schemeClr val="bg2">
                    <a:lumMod val="75000"/>
                  </a:schemeClr>
                </a:solidFill>
                <a:latin typeface="Century Gothic" panose="020B0502020202020204" pitchFamily="34" charset="0"/>
              </a:defRPr>
            </a:lvl1pPr>
          </a:lstStyle>
          <a:p>
            <a:pPr lvl="0"/>
            <a:r>
              <a:rPr lang="en-US" dirty="0"/>
              <a:t>Subtitle goes here</a:t>
            </a:r>
          </a:p>
        </p:txBody>
      </p:sp>
      <p:sp>
        <p:nvSpPr>
          <p:cNvPr id="28" name="Text Placeholder 2">
            <a:extLst>
              <a:ext uri="{FF2B5EF4-FFF2-40B4-BE49-F238E27FC236}">
                <a16:creationId xmlns:a16="http://schemas.microsoft.com/office/drawing/2014/main" id="{078DABAB-B018-4B06-A8AD-EB985D1C8C9C}"/>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29" name="Text Placeholder 4">
            <a:extLst>
              <a:ext uri="{FF2B5EF4-FFF2-40B4-BE49-F238E27FC236}">
                <a16:creationId xmlns:a16="http://schemas.microsoft.com/office/drawing/2014/main" id="{0DD79F07-8A50-4B0D-BDBB-4367D1D12FA0}"/>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30" name="Text Placeholder 9">
            <a:extLst>
              <a:ext uri="{FF2B5EF4-FFF2-40B4-BE49-F238E27FC236}">
                <a16:creationId xmlns:a16="http://schemas.microsoft.com/office/drawing/2014/main" id="{342390CD-71FF-409A-998F-CAD5E4F3C6A7}"/>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Tree>
    <p:extLst>
      <p:ext uri="{BB962C8B-B14F-4D97-AF65-F5344CB8AC3E}">
        <p14:creationId xmlns:p14="http://schemas.microsoft.com/office/powerpoint/2010/main" val="3668924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B2F740-3107-43CE-AC3E-55CFEF5E03F8}"/>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4" name="TextBox 3">
            <a:extLst>
              <a:ext uri="{FF2B5EF4-FFF2-40B4-BE49-F238E27FC236}">
                <a16:creationId xmlns:a16="http://schemas.microsoft.com/office/drawing/2014/main" id="{32842B89-6434-4A3A-B049-8E8800951E22}"/>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782872" y="2427879"/>
            <a:ext cx="4626266"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3"/>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924099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2">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EF92CE3-7FA7-46B5-BA55-39552BC8A4B8}"/>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7A988C22-FD43-453E-B622-F08A115595BE}"/>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1915903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41C5A2-4BF5-4E3A-B1E1-6002F69D5743}"/>
              </a:ext>
              <a:ext uri="{C183D7F6-B498-43B3-948B-1728B52AA6E4}">
                <adec:decorative xmlns:adec="http://schemas.microsoft.com/office/drawing/2017/decorative" val="1"/>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7" name="TextBox 6">
            <a:extLst>
              <a:ext uri="{FF2B5EF4-FFF2-40B4-BE49-F238E27FC236}">
                <a16:creationId xmlns:a16="http://schemas.microsoft.com/office/drawing/2014/main" id="{5F95D46E-54F8-4393-B949-4C64DD9EDCFE}"/>
              </a:ext>
              <a:ext uri="{C183D7F6-B498-43B3-948B-1728B52AA6E4}">
                <adec:decorative xmlns:adec="http://schemas.microsoft.com/office/drawing/2017/decorative" val="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9" name="TextBox 8">
            <a:extLst>
              <a:ext uri="{FF2B5EF4-FFF2-40B4-BE49-F238E27FC236}">
                <a16:creationId xmlns:a16="http://schemas.microsoft.com/office/drawing/2014/main" id="{DFF00D75-40A8-4C32-9517-3F5B68381210}"/>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782872" y="2427879"/>
            <a:ext cx="4626266"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3"/>
                </a:solidFill>
                <a:uFill>
                  <a:solidFill>
                    <a:schemeClr val="accent1"/>
                  </a:solidFill>
                </a:uFill>
              </a:defRPr>
            </a:lvl1pPr>
          </a:lstStyle>
          <a:p>
            <a:r>
              <a:rPr lang="en-US" dirty="0"/>
              <a:t>Divider slide title goes here</a:t>
            </a:r>
            <a:endParaRPr lang="en-GB" dirty="0"/>
          </a:p>
        </p:txBody>
      </p:sp>
    </p:spTree>
    <p:extLst>
      <p:ext uri="{BB962C8B-B14F-4D97-AF65-F5344CB8AC3E}">
        <p14:creationId xmlns:p14="http://schemas.microsoft.com/office/powerpoint/2010/main" val="28510333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7EF1C10-87A8-A049-9B03-76E6A0392929}"/>
              </a:ext>
              <a:ext uri="{C183D7F6-B498-43B3-948B-1728B52AA6E4}">
                <adec:decorative xmlns:adec="http://schemas.microsoft.com/office/drawing/2017/decorative" val="1"/>
              </a:ext>
            </a:extLst>
          </p:cNvPr>
          <p:cNvSpPr txBox="1"/>
          <p:nvPr/>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3 The Capital Markets Company. Capco Confidential. All rights reserved.</a:t>
            </a:r>
          </a:p>
        </p:txBody>
      </p:sp>
      <p:sp>
        <p:nvSpPr>
          <p:cNvPr id="7" name="TextBox 6">
            <a:extLst>
              <a:ext uri="{FF2B5EF4-FFF2-40B4-BE49-F238E27FC236}">
                <a16:creationId xmlns:a16="http://schemas.microsoft.com/office/drawing/2014/main" id="{EC729921-C016-0E4B-8F7D-F8645122E811}"/>
              </a:ext>
              <a:ext uri="{C183D7F6-B498-43B3-948B-1728B52AA6E4}">
                <adec:decorative xmlns:adec="http://schemas.microsoft.com/office/drawing/2017/decorative" val="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2" name="Title Placeholder 1">
            <a:extLst>
              <a:ext uri="{FF2B5EF4-FFF2-40B4-BE49-F238E27FC236}">
                <a16:creationId xmlns:a16="http://schemas.microsoft.com/office/drawing/2014/main" id="{6C6754CF-352F-437B-8C6A-248122E5637B}"/>
              </a:ext>
            </a:extLst>
          </p:cNvPr>
          <p:cNvSpPr>
            <a:spLocks noGrp="1"/>
          </p:cNvSpPr>
          <p:nvPr>
            <p:ph type="title"/>
          </p:nvPr>
        </p:nvSpPr>
        <p:spPr>
          <a:xfrm>
            <a:off x="542647" y="525546"/>
            <a:ext cx="11098490" cy="332399"/>
          </a:xfrm>
          <a:prstGeom prst="rect">
            <a:avLst/>
          </a:prstGeom>
        </p:spPr>
        <p:txBody>
          <a:bodyPr vert="horz" lIns="0" tIns="0" rIns="0" bIns="0" rtlCol="0" anchor="t">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DF4FBE46-2630-463B-AED4-3E505F871AA4}"/>
              </a:ext>
            </a:extLst>
          </p:cNvPr>
          <p:cNvSpPr>
            <a:spLocks noGrp="1"/>
          </p:cNvSpPr>
          <p:nvPr>
            <p:ph type="body" idx="1"/>
          </p:nvPr>
        </p:nvSpPr>
        <p:spPr>
          <a:xfrm>
            <a:off x="550863" y="1634949"/>
            <a:ext cx="11090275" cy="4608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3">
            <a:extLst>
              <a:ext uri="{FF2B5EF4-FFF2-40B4-BE49-F238E27FC236}">
                <a16:creationId xmlns:a16="http://schemas.microsoft.com/office/drawing/2014/main" id="{2DCC4281-E878-004D-8A3D-6E53DB41158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845379781"/>
      </p:ext>
    </p:extLst>
  </p:cSld>
  <p:clrMap bg1="lt1" tx1="dk1" bg2="lt2" tx2="dk2" accent1="accent1" accent2="accent2" accent3="accent3" accent4="accent4" accent5="accent5" accent6="accent6" hlink="hlink" folHlink="folHlink"/>
  <p:sldLayoutIdLst>
    <p:sldLayoutId id="2147483924" r:id="rId1"/>
    <p:sldLayoutId id="2147483926" r:id="rId2"/>
    <p:sldLayoutId id="2147483928" r:id="rId3"/>
    <p:sldLayoutId id="2147484001" r:id="rId4"/>
    <p:sldLayoutId id="2147483930" r:id="rId5"/>
    <p:sldLayoutId id="2147484002" r:id="rId6"/>
    <p:sldLayoutId id="2147483932" r:id="rId7"/>
    <p:sldLayoutId id="2147484005" r:id="rId8"/>
    <p:sldLayoutId id="2147483933" r:id="rId9"/>
    <p:sldLayoutId id="2147483934" r:id="rId10"/>
    <p:sldLayoutId id="2147483935" r:id="rId11"/>
    <p:sldLayoutId id="2147483936" r:id="rId12"/>
    <p:sldLayoutId id="2147483937" r:id="rId13"/>
    <p:sldLayoutId id="2147483938"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9" r:id="rId28"/>
    <p:sldLayoutId id="2147483960"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4003" r:id="rId42"/>
    <p:sldLayoutId id="2147483995" r:id="rId43"/>
    <p:sldLayoutId id="2147483993" r:id="rId44"/>
    <p:sldLayoutId id="2147483994" r:id="rId45"/>
    <p:sldLayoutId id="2147484004" r:id="rId46"/>
    <p:sldLayoutId id="2147483996" r:id="rId47"/>
  </p:sldLayoutIdLst>
  <p:hf hdr="0" dt="0"/>
  <p:txStyles>
    <p:titleStyle>
      <a:lvl1pPr algn="l" defTabSz="914400" rtl="0" eaLnBrk="1" latinLnBrk="0" hangingPunct="1">
        <a:lnSpc>
          <a:spcPct val="90000"/>
        </a:lnSpc>
        <a:spcBef>
          <a:spcPct val="0"/>
        </a:spcBef>
        <a:buNone/>
        <a:defRPr sz="2400" b="0" i="0" kern="1200" cap="none" baseline="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347">
          <p15:clr>
            <a:srgbClr val="F26B43"/>
          </p15:clr>
        </p15:guide>
        <p15:guide id="3" pos="7333">
          <p15:clr>
            <a:srgbClr val="F26B43"/>
          </p15:clr>
        </p15:guide>
        <p15:guide id="4" orient="horz" pos="102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hyperlink" Target="https://capcoinc.sharepoint.com/sites/CapcoIndiaLocations/SitePages/Capco-India---CapAnalytics-Hackathon.aspx?CT=1691146138838&amp;OR=OWA-NT&amp;CID=a0e0c544-143c-163c-b2fa-ed4e7b0f175b" TargetMode="Externa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capcoinc.sharepoint.com/sites/CapcoIndiaLocations/SitePages/Capco-India---CapAnalytics-Hackathon.aspx?xsdata=MDV8MDF8fDZiYmZkZDljNWE5OTQzZDRjZjViMDhkYjhjZTY3N2ZifDliYWMzOWRjYTdhYjRhMjA5YThiODg1YzYyMzViNmM1fDB8MHw2MzgyNTg2OTM2ODY0MTUxOTV8VW5rbm93bnxWR1ZoYlhOVFpXTjFjbWwwZVZObGNuWnBZMlY4ZXlKV0lqb2lNQzR3TGpBd01EQWlMQ0pRSWpvaVYybHVNeklpTENKQlRpSTZJazkwYUdWeUlpd2lWMVFpT2pFeGZRPT18MXxMMk5vWVhSekx6RTVPbTFsWlhScGJtZGZUV3BCZUU1VWF6Vk5SRWwwVFZSRk5FMVRNREJOZWtFelRGUm9hazVxVFhSWk1rVXdUakpOTUZsVVRtbGFiVTB3UUhSb2NtVmhaQzUyTWk5dFpYTnpZV2RsY3k4eE5qa3dNamN5TlRZNE1qQTR8OGRiNzZiOTQ0MTUxNDk2ZGNmNWIwOGRiOGNlNjc3ZmJ8ZjJhYmZiZDM2ODUzNGYxOTk5M2IwMTRjNTFlYjI5Y2M%3D&amp;sdata=Q3VpaDQzNlcvejVSQ0U5QUlOdzNqc2JRU3ZpZlBrWFJWR0VxVzNlRkNrUT0%3D&amp;ovuser=9bac39dc-a7ab-4a20-9a8b-885c6235b6c5%2Cprincy.pal%40capco.com&amp;OR=Teams-HL&amp;CT=1690280301156&amp;clickparams=eyJBcHBOYW1lIjoiVGVhbXMtRGVza3RvcCIsIkFwcFZlcnNpb24iOiIyNy8yMzA3MDMwNzMxMyIsIkhhc0ZlZGVyYXRlZFVzZXIiOmZhbHNlfQ%3D%3D" TargetMode="External"/><Relationship Id="rId2" Type="http://schemas.openxmlformats.org/officeDocument/2006/relationships/hyperlink" Target="https://capcoinc.sharepoint.com/:f:/r/sites/CapcoIndiaLocations/SiteAssets/SitePages/Capco-India---CapAnalytics-Hackathon/CapAnalytics-Hackathon%20Resources?csf=1&amp;web=1&amp;e=xkCoKb" TargetMode="Externa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hyperlink" Target="https://www.youtube.com/@krishnaik06/playlists" TargetMode="External"/><Relationship Id="rId3" Type="http://schemas.openxmlformats.org/officeDocument/2006/relationships/hyperlink" Target="https://capco.udemy.com/course/python-for-data-science-and-machine-learning-bootcamp/" TargetMode="External"/><Relationship Id="rId7" Type="http://schemas.openxmlformats.org/officeDocument/2006/relationships/hyperlink" Target="https://www.cloudskillsboost.google/journeys/118" TargetMode="External"/><Relationship Id="rId2" Type="http://schemas.openxmlformats.org/officeDocument/2006/relationships/hyperlink" Target="https://capco.udemy.com/course/complete-python-bootcamp/learn/lecture/3421822#overview" TargetMode="External"/><Relationship Id="rId1" Type="http://schemas.openxmlformats.org/officeDocument/2006/relationships/slideLayout" Target="../slideLayouts/slideLayout15.xml"/><Relationship Id="rId6" Type="http://schemas.openxmlformats.org/officeDocument/2006/relationships/hyperlink" Target="https://capco.udemy.com/course/nlp-natural-language-processing-with-python/learn/lecture/12887008#overview" TargetMode="External"/><Relationship Id="rId5" Type="http://schemas.openxmlformats.org/officeDocument/2006/relationships/hyperlink" Target="https://capco.udemy.com/course/deeplearning/" TargetMode="External"/><Relationship Id="rId4" Type="http://schemas.openxmlformats.org/officeDocument/2006/relationships/hyperlink" Target="https://capco.udemy.com/course/machinelearn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wireframe of a network">
            <a:extLst>
              <a:ext uri="{FF2B5EF4-FFF2-40B4-BE49-F238E27FC236}">
                <a16:creationId xmlns:a16="http://schemas.microsoft.com/office/drawing/2014/main" id="{89CEDB25-A296-1F5C-9944-7F79BF137170}"/>
              </a:ext>
            </a:extLst>
          </p:cNvPr>
          <p:cNvPicPr>
            <a:picLocks noGrp="1" noChangeAspect="1"/>
          </p:cNvPicPr>
          <p:nvPr>
            <p:ph type="pic" sz="quarter" idx="18"/>
          </p:nvPr>
        </p:nvPicPr>
        <p:blipFill>
          <a:blip r:embed="rId2">
            <a:alphaModFix amt="70000"/>
            <a:extLst>
              <a:ext uri="{28A0092B-C50C-407E-A947-70E740481C1C}">
                <a14:useLocalDpi xmlns:a14="http://schemas.microsoft.com/office/drawing/2010/main" val="0"/>
              </a:ext>
            </a:extLst>
          </a:blip>
          <a:srcRect t="7079" b="7079"/>
          <a:stretch>
            <a:fillRect/>
          </a:stretch>
        </p:blipFill>
        <p:spPr>
          <a:xfrm>
            <a:off x="0" y="0"/>
            <a:ext cx="12064621" cy="4271749"/>
          </a:xfrm>
        </p:spPr>
      </p:pic>
      <p:sp>
        <p:nvSpPr>
          <p:cNvPr id="20" name="Title 19">
            <a:extLst>
              <a:ext uri="{FF2B5EF4-FFF2-40B4-BE49-F238E27FC236}">
                <a16:creationId xmlns:a16="http://schemas.microsoft.com/office/drawing/2014/main" id="{51EA2D67-1761-4DDB-A085-96563700A55A}"/>
              </a:ext>
            </a:extLst>
          </p:cNvPr>
          <p:cNvSpPr>
            <a:spLocks noGrp="1"/>
          </p:cNvSpPr>
          <p:nvPr>
            <p:ph type="title"/>
          </p:nvPr>
        </p:nvSpPr>
        <p:spPr>
          <a:xfrm>
            <a:off x="1085548" y="4755595"/>
            <a:ext cx="6142707" cy="720197"/>
          </a:xfrm>
        </p:spPr>
        <p:txBody>
          <a:bodyPr/>
          <a:lstStyle/>
          <a:p>
            <a:r>
              <a:rPr lang="en-US" dirty="0"/>
              <a:t>HACKATHON BREIFING SESSION</a:t>
            </a:r>
          </a:p>
        </p:txBody>
      </p:sp>
      <p:sp>
        <p:nvSpPr>
          <p:cNvPr id="24" name="Text Placeholder 23">
            <a:extLst>
              <a:ext uri="{FF2B5EF4-FFF2-40B4-BE49-F238E27FC236}">
                <a16:creationId xmlns:a16="http://schemas.microsoft.com/office/drawing/2014/main" id="{B66B7134-7B55-46DE-A327-06B8144330AF}"/>
              </a:ext>
            </a:extLst>
          </p:cNvPr>
          <p:cNvSpPr>
            <a:spLocks noGrp="1"/>
          </p:cNvSpPr>
          <p:nvPr>
            <p:ph type="body" sz="quarter" idx="17"/>
          </p:nvPr>
        </p:nvSpPr>
        <p:spPr/>
        <p:txBody>
          <a:bodyPr/>
          <a:lstStyle/>
          <a:p>
            <a:r>
              <a:rPr lang="en-US" dirty="0"/>
              <a:t>CAPANALYTICS MACHINE LEARNING HACKATHON</a:t>
            </a:r>
          </a:p>
        </p:txBody>
      </p:sp>
      <p:sp>
        <p:nvSpPr>
          <p:cNvPr id="22" name="Text Placeholder 21">
            <a:extLst>
              <a:ext uri="{FF2B5EF4-FFF2-40B4-BE49-F238E27FC236}">
                <a16:creationId xmlns:a16="http://schemas.microsoft.com/office/drawing/2014/main" id="{C7E3E08D-BD77-4D94-8481-4B2D03C506A5}"/>
              </a:ext>
            </a:extLst>
          </p:cNvPr>
          <p:cNvSpPr>
            <a:spLocks noGrp="1"/>
          </p:cNvSpPr>
          <p:nvPr>
            <p:ph type="body" sz="quarter" idx="15"/>
          </p:nvPr>
        </p:nvSpPr>
        <p:spPr/>
        <p:txBody>
          <a:bodyPr/>
          <a:lstStyle/>
          <a:p>
            <a:r>
              <a:rPr lang="en-US" dirty="0"/>
              <a:t>Date : 23</a:t>
            </a:r>
            <a:r>
              <a:rPr lang="en-US" baseline="30000" dirty="0"/>
              <a:t>rd</a:t>
            </a:r>
            <a:r>
              <a:rPr lang="en-US" dirty="0"/>
              <a:t> August 2023</a:t>
            </a:r>
          </a:p>
        </p:txBody>
      </p:sp>
      <p:sp>
        <p:nvSpPr>
          <p:cNvPr id="7" name="Text Placeholder 6">
            <a:extLst>
              <a:ext uri="{FF2B5EF4-FFF2-40B4-BE49-F238E27FC236}">
                <a16:creationId xmlns:a16="http://schemas.microsoft.com/office/drawing/2014/main" id="{9E70AEA2-A5E0-6AE3-7BD5-D426AE203EB4}"/>
              </a:ext>
            </a:extLst>
          </p:cNvPr>
          <p:cNvSpPr>
            <a:spLocks noGrp="1"/>
          </p:cNvSpPr>
          <p:nvPr>
            <p:ph type="body" sz="quarter" idx="14"/>
          </p:nvPr>
        </p:nvSpPr>
        <p:spPr/>
        <p:txBody>
          <a:bodyPr/>
          <a:lstStyle/>
          <a:p>
            <a:endParaRPr lang="en-IN"/>
          </a:p>
        </p:txBody>
      </p:sp>
    </p:spTree>
    <p:extLst>
      <p:ext uri="{BB962C8B-B14F-4D97-AF65-F5344CB8AC3E}">
        <p14:creationId xmlns:p14="http://schemas.microsoft.com/office/powerpoint/2010/main" val="3870779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9FB8201-CCAB-3728-4D34-60D17CB999F2}"/>
              </a:ext>
            </a:extLst>
          </p:cNvPr>
          <p:cNvSpPr>
            <a:spLocks noGrp="1"/>
          </p:cNvSpPr>
          <p:nvPr>
            <p:ph type="title"/>
          </p:nvPr>
        </p:nvSpPr>
        <p:spPr>
          <a:xfrm>
            <a:off x="4961074" y="2764203"/>
            <a:ext cx="2269852" cy="664797"/>
          </a:xfrm>
        </p:spPr>
        <p:txBody>
          <a:bodyPr/>
          <a:lstStyle/>
          <a:p>
            <a:r>
              <a:rPr lang="en-IN" dirty="0"/>
              <a:t>Q&amp;A Session </a:t>
            </a:r>
          </a:p>
        </p:txBody>
      </p:sp>
    </p:spTree>
    <p:extLst>
      <p:ext uri="{BB962C8B-B14F-4D97-AF65-F5344CB8AC3E}">
        <p14:creationId xmlns:p14="http://schemas.microsoft.com/office/powerpoint/2010/main" val="2695523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9FB8201-CCAB-3728-4D34-60D17CB999F2}"/>
              </a:ext>
            </a:extLst>
          </p:cNvPr>
          <p:cNvSpPr>
            <a:spLocks noGrp="1"/>
          </p:cNvSpPr>
          <p:nvPr>
            <p:ph type="title"/>
          </p:nvPr>
        </p:nvSpPr>
        <p:spPr>
          <a:xfrm>
            <a:off x="5045231" y="2764203"/>
            <a:ext cx="2101537" cy="664797"/>
          </a:xfrm>
        </p:spPr>
        <p:txBody>
          <a:bodyPr/>
          <a:lstStyle/>
          <a:p>
            <a:r>
              <a:rPr lang="en-IN" dirty="0"/>
              <a:t>THANK YOU </a:t>
            </a:r>
          </a:p>
        </p:txBody>
      </p:sp>
    </p:spTree>
    <p:extLst>
      <p:ext uri="{BB962C8B-B14F-4D97-AF65-F5344CB8AC3E}">
        <p14:creationId xmlns:p14="http://schemas.microsoft.com/office/powerpoint/2010/main" val="710429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15C527-5E03-456F-8FAB-120CC9E7E5C1}"/>
              </a:ext>
            </a:extLst>
          </p:cNvPr>
          <p:cNvSpPr>
            <a:spLocks noGrp="1"/>
          </p:cNvSpPr>
          <p:nvPr>
            <p:ph type="title"/>
          </p:nvPr>
        </p:nvSpPr>
        <p:spPr>
          <a:xfrm>
            <a:off x="500745" y="1628775"/>
            <a:ext cx="3799117" cy="664797"/>
          </a:xfrm>
        </p:spPr>
        <p:txBody>
          <a:bodyPr/>
          <a:lstStyle/>
          <a:p>
            <a:r>
              <a:rPr lang="en-US" dirty="0"/>
              <a:t>Topics to be covered </a:t>
            </a:r>
          </a:p>
        </p:txBody>
      </p:sp>
      <p:graphicFrame>
        <p:nvGraphicFramePr>
          <p:cNvPr id="5" name="Content Placeholder 5">
            <a:extLst>
              <a:ext uri="{FF2B5EF4-FFF2-40B4-BE49-F238E27FC236}">
                <a16:creationId xmlns:a16="http://schemas.microsoft.com/office/drawing/2014/main" id="{F0449FDC-0B0B-4FF5-86FF-2C878BDF08F7}"/>
              </a:ext>
            </a:extLst>
          </p:cNvPr>
          <p:cNvGraphicFramePr>
            <a:graphicFrameLocks/>
          </p:cNvGraphicFramePr>
          <p:nvPr>
            <p:extLst>
              <p:ext uri="{D42A27DB-BD31-4B8C-83A1-F6EECF244321}">
                <p14:modId xmlns:p14="http://schemas.microsoft.com/office/powerpoint/2010/main" val="357677878"/>
              </p:ext>
            </p:extLst>
          </p:nvPr>
        </p:nvGraphicFramePr>
        <p:xfrm>
          <a:off x="6326659" y="1641820"/>
          <a:ext cx="3960000" cy="4320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849198483"/>
                    </a:ext>
                  </a:extLst>
                </a:gridCol>
                <a:gridCol w="3240000">
                  <a:extLst>
                    <a:ext uri="{9D8B030D-6E8A-4147-A177-3AD203B41FA5}">
                      <a16:colId xmlns:a16="http://schemas.microsoft.com/office/drawing/2014/main" val="3859851684"/>
                    </a:ext>
                  </a:extLst>
                </a:gridCol>
              </a:tblGrid>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1</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dirty="0">
                          <a:ln>
                            <a:noFill/>
                          </a:ln>
                          <a:solidFill>
                            <a:schemeClr val="accent2"/>
                          </a:solidFill>
                          <a:effectLst/>
                          <a:uLnTx/>
                          <a:uFillTx/>
                          <a:latin typeface="Calibri (Body)"/>
                          <a:ea typeface="Verdana" panose="020B0604030504040204" pitchFamily="34" charset="0"/>
                          <a:cs typeface="Calibri" panose="020F0502020204030204" pitchFamily="34" charset="0"/>
                        </a:rPr>
                        <a:t>Use Case Explanation</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91849527"/>
                  </a:ext>
                </a:extLst>
              </a:tr>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2</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rPr>
                        <a:t>High level Flow Chart</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2416378"/>
                  </a:ext>
                </a:extLst>
              </a:tr>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3</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dirty="0">
                          <a:ln>
                            <a:noFill/>
                          </a:ln>
                          <a:solidFill>
                            <a:schemeClr val="accent2"/>
                          </a:solidFill>
                          <a:effectLst/>
                          <a:uLnTx/>
                          <a:uFillTx/>
                          <a:latin typeface="Calibri (Body)"/>
                          <a:ea typeface="Verdana" panose="020B0604030504040204" pitchFamily="34" charset="0"/>
                          <a:cs typeface="Calibri" panose="020F0502020204030204" pitchFamily="34" charset="0"/>
                        </a:rPr>
                        <a:t>Basic Process flow</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50836492"/>
                  </a:ext>
                </a:extLst>
              </a:tr>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4</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300" b="1" i="0" dirty="0">
                          <a:solidFill>
                            <a:schemeClr val="accent2"/>
                          </a:solidFill>
                          <a:latin typeface="Calibri (Body)"/>
                          <a:ea typeface="Verdana" panose="020B0604030504040204" pitchFamily="34" charset="0"/>
                          <a:cs typeface="Calibri" panose="020F0502020204030204" pitchFamily="34" charset="0"/>
                        </a:rPr>
                        <a:t>Data Source &amp; Idea Submission details</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67690865"/>
                  </a:ext>
                </a:extLst>
              </a:tr>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5</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i="0" dirty="0">
                          <a:solidFill>
                            <a:schemeClr val="accent2"/>
                          </a:solidFill>
                          <a:latin typeface="Calibri (Body)"/>
                          <a:ea typeface="Verdana" panose="020B0604030504040204" pitchFamily="34" charset="0"/>
                          <a:cs typeface="Calibri" panose="020F0502020204030204" pitchFamily="34" charset="0"/>
                        </a:rPr>
                        <a:t>Evaluation Parame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endParaRP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451293888"/>
                  </a:ext>
                </a:extLst>
              </a:tr>
              <a:tr h="720000">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6</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rPr>
                        <a:t>Learning  Resources</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36625758"/>
                  </a:ext>
                </a:extLst>
              </a:tr>
            </a:tbl>
          </a:graphicData>
        </a:graphic>
      </p:graphicFrame>
    </p:spTree>
    <p:extLst>
      <p:ext uri="{BB962C8B-B14F-4D97-AF65-F5344CB8AC3E}">
        <p14:creationId xmlns:p14="http://schemas.microsoft.com/office/powerpoint/2010/main" val="1734165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1081ED3-0418-846E-0FD9-51E99FE60C13}"/>
              </a:ext>
            </a:extLst>
          </p:cNvPr>
          <p:cNvSpPr txBox="1"/>
          <p:nvPr/>
        </p:nvSpPr>
        <p:spPr>
          <a:xfrm>
            <a:off x="150125" y="1024269"/>
            <a:ext cx="11778018" cy="4210640"/>
          </a:xfrm>
          <a:prstGeom prst="rect">
            <a:avLst/>
          </a:prstGeom>
          <a:noFill/>
        </p:spPr>
        <p:txBody>
          <a:bodyPr wrap="square">
            <a:spAutoFit/>
          </a:bodyPr>
          <a:lstStyle/>
          <a:p>
            <a:pPr>
              <a:lnSpc>
                <a:spcPct val="107000"/>
              </a:lnSpc>
              <a:spcAft>
                <a:spcPts val="800"/>
              </a:spcAft>
            </a:pPr>
            <a:r>
              <a:rPr lang="en-US" sz="24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C</a:t>
            </a:r>
            <a:r>
              <a:rPr lang="en-US" sz="20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ustomer Onboarding Using AI for loan application and its Realtime assessment of application for loan approvals and with recommender system for cross sell and upsell.</a:t>
            </a:r>
            <a:endParaRPr lang="en-IN"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0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Problem statement:</a:t>
            </a:r>
            <a:endParaRPr lang="en-IN"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Wingdings" panose="05000000000000000000" pitchFamily="2" charset="2"/>
              <a:buChar char=""/>
            </a:pPr>
            <a:r>
              <a:rPr lang="en-US" sz="18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Build an AI Chat bot which identify user intent, provide real time guidance and support throughout loan amortization process.</a:t>
            </a:r>
            <a:endParaRPr lang="en-IN"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Wingdings" panose="05000000000000000000" pitchFamily="2" charset="2"/>
              <a:buChar char=""/>
            </a:pPr>
            <a:r>
              <a:rPr lang="en-US" sz="18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Integrate this chatbot with a Machine learning model which assists banks by analyzing credit worthiness and providing real time Decisions on loan approvals.</a:t>
            </a:r>
            <a:endParaRPr lang="en-IN"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Wingdings" panose="05000000000000000000" pitchFamily="2" charset="2"/>
              <a:buChar char=""/>
            </a:pPr>
            <a:r>
              <a:rPr lang="en-US" sz="18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This Model Should also be capable to recommend tailored products to the user based on their transactional behavior.</a:t>
            </a:r>
            <a:endParaRPr lang="en-IN"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pPr>
            <a:r>
              <a:rPr lang="en-US" sz="18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With an ability to analyze vast amounts of data and make accurate predictions, banks can reduce the risk of default and make informed decisions about loan approvals </a:t>
            </a:r>
            <a:r>
              <a:rPr lang="en-US" kern="100" dirty="0">
                <a:solidFill>
                  <a:schemeClr val="bg1"/>
                </a:solidFill>
                <a:latin typeface="Calibri Light" panose="020F0302020204030204" pitchFamily="34" charset="0"/>
                <a:ea typeface="Calibri" panose="020F0502020204030204" pitchFamily="34" charset="0"/>
                <a:cs typeface="Times New Roman" panose="02020603050405020304" pitchFamily="18" charset="0"/>
              </a:rPr>
              <a:t>&amp;</a:t>
            </a:r>
            <a:r>
              <a:rPr lang="en-US" sz="1800" kern="100"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 also build a recommender system which helps in Cross and Upsell.</a:t>
            </a:r>
          </a:p>
          <a:p>
            <a:pPr marL="342900" lvl="0" indent="-342900">
              <a:lnSpc>
                <a:spcPct val="107000"/>
              </a:lnSpc>
              <a:spcAft>
                <a:spcPts val="800"/>
              </a:spcAft>
              <a:buFont typeface="Wingdings" panose="05000000000000000000" pitchFamily="2" charset="2"/>
              <a:buChar char=""/>
            </a:pPr>
            <a:r>
              <a:rPr lang="en-US" kern="100" dirty="0">
                <a:solidFill>
                  <a:schemeClr val="bg1"/>
                </a:solidFill>
                <a:latin typeface="Calibri Light" panose="020F0302020204030204" pitchFamily="34" charset="0"/>
                <a:cs typeface="Times New Roman" panose="02020603050405020304" pitchFamily="18" charset="0"/>
              </a:rPr>
              <a:t>Save the trained machine learning model and develop a web app </a:t>
            </a:r>
          </a:p>
          <a:p>
            <a:pPr marL="342900" lvl="0" indent="-342900">
              <a:lnSpc>
                <a:spcPct val="107000"/>
              </a:lnSpc>
              <a:spcAft>
                <a:spcPts val="800"/>
              </a:spcAft>
              <a:buFont typeface="Wingdings" panose="05000000000000000000" pitchFamily="2" charset="2"/>
              <a:buChar char=""/>
            </a:pPr>
            <a:r>
              <a:rPr lang="en-US" kern="100" dirty="0">
                <a:solidFill>
                  <a:schemeClr val="bg1"/>
                </a:solidFill>
                <a:latin typeface="Calibri Light" panose="020F0302020204030204" pitchFamily="34" charset="0"/>
                <a:cs typeface="Times New Roman" panose="02020603050405020304" pitchFamily="18" charset="0"/>
              </a:rPr>
              <a:t>On a user request, run inference using the saved model in the local server and return the results in the UI web interface</a:t>
            </a:r>
          </a:p>
        </p:txBody>
      </p:sp>
      <p:sp>
        <p:nvSpPr>
          <p:cNvPr id="12" name="TextBox 11">
            <a:extLst>
              <a:ext uri="{FF2B5EF4-FFF2-40B4-BE49-F238E27FC236}">
                <a16:creationId xmlns:a16="http://schemas.microsoft.com/office/drawing/2014/main" id="{2374BEBC-FAF8-EB28-A395-2E6147F017E8}"/>
              </a:ext>
            </a:extLst>
          </p:cNvPr>
          <p:cNvSpPr txBox="1"/>
          <p:nvPr/>
        </p:nvSpPr>
        <p:spPr>
          <a:xfrm>
            <a:off x="341194" y="189726"/>
            <a:ext cx="3780429" cy="646331"/>
          </a:xfrm>
          <a:prstGeom prst="rect">
            <a:avLst/>
          </a:prstGeom>
          <a:noFill/>
        </p:spPr>
        <p:txBody>
          <a:bodyPr wrap="square" rtlCol="0">
            <a:spAutoFit/>
          </a:bodyPr>
          <a:lstStyle/>
          <a:p>
            <a:pPr algn="l"/>
            <a:r>
              <a:rPr lang="en-US" sz="3600" b="1" dirty="0">
                <a:solidFill>
                  <a:schemeClr val="bg1"/>
                </a:solidFill>
              </a:rPr>
              <a:t>Use Case  Details</a:t>
            </a:r>
            <a:endParaRPr lang="en-IN" sz="3600" b="1" dirty="0">
              <a:solidFill>
                <a:schemeClr val="bg1"/>
              </a:solidFill>
            </a:endParaRPr>
          </a:p>
        </p:txBody>
      </p:sp>
    </p:spTree>
    <p:extLst>
      <p:ext uri="{BB962C8B-B14F-4D97-AF65-F5344CB8AC3E}">
        <p14:creationId xmlns:p14="http://schemas.microsoft.com/office/powerpoint/2010/main" val="3350873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User with solid fill">
            <a:extLst>
              <a:ext uri="{FF2B5EF4-FFF2-40B4-BE49-F238E27FC236}">
                <a16:creationId xmlns:a16="http://schemas.microsoft.com/office/drawing/2014/main" id="{77A4145E-AF5A-9872-4004-741FA19613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6233" y="156612"/>
            <a:ext cx="914400" cy="914400"/>
          </a:xfrm>
          <a:prstGeom prst="rect">
            <a:avLst/>
          </a:prstGeom>
        </p:spPr>
      </p:pic>
      <p:sp>
        <p:nvSpPr>
          <p:cNvPr id="11" name="Rectangle: Rounded Corners 10">
            <a:extLst>
              <a:ext uri="{FF2B5EF4-FFF2-40B4-BE49-F238E27FC236}">
                <a16:creationId xmlns:a16="http://schemas.microsoft.com/office/drawing/2014/main" id="{B5326772-FC78-9F44-18B1-218E939FEBA2}"/>
              </a:ext>
            </a:extLst>
          </p:cNvPr>
          <p:cNvSpPr/>
          <p:nvPr/>
        </p:nvSpPr>
        <p:spPr>
          <a:xfrm>
            <a:off x="2276897" y="303669"/>
            <a:ext cx="1487606" cy="655092"/>
          </a:xfrm>
          <a:prstGeom prst="roundRect">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AI Chatbot</a:t>
            </a:r>
          </a:p>
        </p:txBody>
      </p:sp>
      <p:sp>
        <p:nvSpPr>
          <p:cNvPr id="14" name="Diamond 13">
            <a:extLst>
              <a:ext uri="{FF2B5EF4-FFF2-40B4-BE49-F238E27FC236}">
                <a16:creationId xmlns:a16="http://schemas.microsoft.com/office/drawing/2014/main" id="{F708BCA9-0A9A-244F-6168-858B9172CAA4}"/>
              </a:ext>
            </a:extLst>
          </p:cNvPr>
          <p:cNvSpPr/>
          <p:nvPr/>
        </p:nvSpPr>
        <p:spPr>
          <a:xfrm>
            <a:off x="5208885" y="10460"/>
            <a:ext cx="1840209" cy="1290389"/>
          </a:xfrm>
          <a:prstGeom prst="diamond">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Existing Customer</a:t>
            </a:r>
          </a:p>
        </p:txBody>
      </p:sp>
      <p:sp>
        <p:nvSpPr>
          <p:cNvPr id="15" name="Diamond 14">
            <a:extLst>
              <a:ext uri="{FF2B5EF4-FFF2-40B4-BE49-F238E27FC236}">
                <a16:creationId xmlns:a16="http://schemas.microsoft.com/office/drawing/2014/main" id="{A7BA5595-C9F6-775A-6D6F-F45ADC836243}"/>
              </a:ext>
            </a:extLst>
          </p:cNvPr>
          <p:cNvSpPr/>
          <p:nvPr/>
        </p:nvSpPr>
        <p:spPr>
          <a:xfrm>
            <a:off x="7592698" y="1683166"/>
            <a:ext cx="1619532" cy="1286305"/>
          </a:xfrm>
          <a:prstGeom prst="diamond">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Data Source</a:t>
            </a:r>
          </a:p>
        </p:txBody>
      </p:sp>
      <p:sp>
        <p:nvSpPr>
          <p:cNvPr id="16" name="Rectangle 15">
            <a:extLst>
              <a:ext uri="{FF2B5EF4-FFF2-40B4-BE49-F238E27FC236}">
                <a16:creationId xmlns:a16="http://schemas.microsoft.com/office/drawing/2014/main" id="{AEECCC42-664B-F0DA-8700-6AA34FD24A7B}"/>
              </a:ext>
            </a:extLst>
          </p:cNvPr>
          <p:cNvSpPr/>
          <p:nvPr/>
        </p:nvSpPr>
        <p:spPr>
          <a:xfrm>
            <a:off x="2127341" y="3918412"/>
            <a:ext cx="1998263" cy="958754"/>
          </a:xfrm>
          <a:prstGeom prst="rect">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Product Recommender System</a:t>
            </a:r>
          </a:p>
        </p:txBody>
      </p:sp>
      <p:sp>
        <p:nvSpPr>
          <p:cNvPr id="17" name="Rectangle: Rounded Corners 16">
            <a:extLst>
              <a:ext uri="{FF2B5EF4-FFF2-40B4-BE49-F238E27FC236}">
                <a16:creationId xmlns:a16="http://schemas.microsoft.com/office/drawing/2014/main" id="{E37B5768-8BAB-FE9C-4D68-091B09E705AC}"/>
              </a:ext>
            </a:extLst>
          </p:cNvPr>
          <p:cNvSpPr/>
          <p:nvPr/>
        </p:nvSpPr>
        <p:spPr>
          <a:xfrm>
            <a:off x="9794531" y="119424"/>
            <a:ext cx="2060812" cy="1023582"/>
          </a:xfrm>
          <a:prstGeom prst="roundRect">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Capture Customer Data</a:t>
            </a:r>
          </a:p>
        </p:txBody>
      </p:sp>
      <p:sp>
        <p:nvSpPr>
          <p:cNvPr id="18" name="Rectangle: Rounded Corners 17">
            <a:extLst>
              <a:ext uri="{FF2B5EF4-FFF2-40B4-BE49-F238E27FC236}">
                <a16:creationId xmlns:a16="http://schemas.microsoft.com/office/drawing/2014/main" id="{F3C95CAF-82C2-3978-17C8-DD9097058A68}"/>
              </a:ext>
            </a:extLst>
          </p:cNvPr>
          <p:cNvSpPr/>
          <p:nvPr/>
        </p:nvSpPr>
        <p:spPr>
          <a:xfrm>
            <a:off x="7404299" y="3874569"/>
            <a:ext cx="2110855" cy="914400"/>
          </a:xfrm>
          <a:prstGeom prst="roundRect">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Machine Learning Model</a:t>
            </a:r>
          </a:p>
        </p:txBody>
      </p:sp>
      <p:cxnSp>
        <p:nvCxnSpPr>
          <p:cNvPr id="20" name="Straight Arrow Connector 19">
            <a:extLst>
              <a:ext uri="{FF2B5EF4-FFF2-40B4-BE49-F238E27FC236}">
                <a16:creationId xmlns:a16="http://schemas.microsoft.com/office/drawing/2014/main" id="{0A327FDB-FA5C-0576-1EF8-1BE2B2030D0C}"/>
              </a:ext>
            </a:extLst>
          </p:cNvPr>
          <p:cNvCxnSpPr>
            <a:cxnSpLocks/>
          </p:cNvCxnSpPr>
          <p:nvPr/>
        </p:nvCxnSpPr>
        <p:spPr>
          <a:xfrm flipV="1">
            <a:off x="1264501" y="610765"/>
            <a:ext cx="1011666" cy="16652"/>
          </a:xfrm>
          <a:prstGeom prst="straightConnector1">
            <a:avLst/>
          </a:prstGeom>
          <a:ln w="38100">
            <a:headEnd type="triangle"/>
            <a:tailEnd type="stealt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6C6532E-F99E-F844-21A5-16397C3E3917}"/>
              </a:ext>
            </a:extLst>
          </p:cNvPr>
          <p:cNvCxnSpPr>
            <a:cxnSpLocks/>
          </p:cNvCxnSpPr>
          <p:nvPr/>
        </p:nvCxnSpPr>
        <p:spPr>
          <a:xfrm>
            <a:off x="3860038" y="593699"/>
            <a:ext cx="1203281" cy="514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66A5698-0BFC-8AD3-15D7-7B2E429C0EC7}"/>
              </a:ext>
            </a:extLst>
          </p:cNvPr>
          <p:cNvCxnSpPr>
            <a:cxnSpLocks/>
          </p:cNvCxnSpPr>
          <p:nvPr/>
        </p:nvCxnSpPr>
        <p:spPr>
          <a:xfrm>
            <a:off x="7179833" y="598843"/>
            <a:ext cx="254759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0E23A53-CDBF-774C-6D9F-8C2CDD6B39DB}"/>
              </a:ext>
            </a:extLst>
          </p:cNvPr>
          <p:cNvCxnSpPr>
            <a:cxnSpLocks/>
          </p:cNvCxnSpPr>
          <p:nvPr/>
        </p:nvCxnSpPr>
        <p:spPr>
          <a:xfrm>
            <a:off x="6096000" y="1324229"/>
            <a:ext cx="0" cy="83762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A58B45B-DA4D-51E5-1676-ACF140516ED3}"/>
              </a:ext>
            </a:extLst>
          </p:cNvPr>
          <p:cNvCxnSpPr/>
          <p:nvPr/>
        </p:nvCxnSpPr>
        <p:spPr>
          <a:xfrm>
            <a:off x="6096000" y="2161854"/>
            <a:ext cx="151035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F4B909E-3209-2350-DE5D-F1161D8C4FA1}"/>
              </a:ext>
            </a:extLst>
          </p:cNvPr>
          <p:cNvCxnSpPr>
            <a:cxnSpLocks/>
          </p:cNvCxnSpPr>
          <p:nvPr/>
        </p:nvCxnSpPr>
        <p:spPr>
          <a:xfrm>
            <a:off x="10866473" y="1143006"/>
            <a:ext cx="0" cy="99969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FC6DB7C-1C87-E2C2-5A49-FF37612028EB}"/>
              </a:ext>
            </a:extLst>
          </p:cNvPr>
          <p:cNvCxnSpPr>
            <a:cxnSpLocks/>
          </p:cNvCxnSpPr>
          <p:nvPr/>
        </p:nvCxnSpPr>
        <p:spPr>
          <a:xfrm flipH="1">
            <a:off x="9103650" y="2161854"/>
            <a:ext cx="176282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6" name="Flowchart: Data 65">
            <a:extLst>
              <a:ext uri="{FF2B5EF4-FFF2-40B4-BE49-F238E27FC236}">
                <a16:creationId xmlns:a16="http://schemas.microsoft.com/office/drawing/2014/main" id="{8158C4E8-9260-E522-23B2-179AEA76AFD5}"/>
              </a:ext>
            </a:extLst>
          </p:cNvPr>
          <p:cNvSpPr/>
          <p:nvPr/>
        </p:nvSpPr>
        <p:spPr>
          <a:xfrm>
            <a:off x="4475330" y="5778510"/>
            <a:ext cx="2137009" cy="941694"/>
          </a:xfrm>
          <a:prstGeom prst="flowChartInputOutput">
            <a:avLst/>
          </a:prstGeom>
          <a:solidFill>
            <a:schemeClr val="tx2">
              <a:lumMod val="20000"/>
              <a:lumOff val="8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entury Gothic"/>
                <a:ea typeface="+mn-ea"/>
                <a:cs typeface="+mn-cs"/>
              </a:rPr>
              <a:t>Loan Decision</a:t>
            </a:r>
          </a:p>
        </p:txBody>
      </p:sp>
      <p:cxnSp>
        <p:nvCxnSpPr>
          <p:cNvPr id="72" name="Straight Connector 71">
            <a:extLst>
              <a:ext uri="{FF2B5EF4-FFF2-40B4-BE49-F238E27FC236}">
                <a16:creationId xmlns:a16="http://schemas.microsoft.com/office/drawing/2014/main" id="{75C977C0-9EA9-5FD0-5F77-37FDCCA4960A}"/>
              </a:ext>
            </a:extLst>
          </p:cNvPr>
          <p:cNvCxnSpPr>
            <a:cxnSpLocks/>
          </p:cNvCxnSpPr>
          <p:nvPr/>
        </p:nvCxnSpPr>
        <p:spPr>
          <a:xfrm>
            <a:off x="8453631" y="4824081"/>
            <a:ext cx="0" cy="142527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D425928-EBD9-4CF8-08DA-8F1DDAC6C380}"/>
              </a:ext>
            </a:extLst>
          </p:cNvPr>
          <p:cNvCxnSpPr>
            <a:cxnSpLocks/>
          </p:cNvCxnSpPr>
          <p:nvPr/>
        </p:nvCxnSpPr>
        <p:spPr>
          <a:xfrm flipH="1">
            <a:off x="6632793" y="6230582"/>
            <a:ext cx="182083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12576D4-03A1-6FCC-37CE-77E8CDF43828}"/>
              </a:ext>
            </a:extLst>
          </p:cNvPr>
          <p:cNvCxnSpPr/>
          <p:nvPr/>
        </p:nvCxnSpPr>
        <p:spPr>
          <a:xfrm>
            <a:off x="8447935" y="3082691"/>
            <a:ext cx="0" cy="69261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AA6FFFD-FE98-CA92-0DD2-2CE8D0329EB1}"/>
              </a:ext>
            </a:extLst>
          </p:cNvPr>
          <p:cNvCxnSpPr>
            <a:cxnSpLocks/>
          </p:cNvCxnSpPr>
          <p:nvPr/>
        </p:nvCxnSpPr>
        <p:spPr>
          <a:xfrm flipH="1">
            <a:off x="944410" y="4286653"/>
            <a:ext cx="1111129" cy="341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67EADA1B-782E-F027-4E3E-1CB463A30332}"/>
              </a:ext>
            </a:extLst>
          </p:cNvPr>
          <p:cNvCxnSpPr>
            <a:cxnSpLocks/>
          </p:cNvCxnSpPr>
          <p:nvPr/>
        </p:nvCxnSpPr>
        <p:spPr>
          <a:xfrm flipV="1">
            <a:off x="944410" y="1154154"/>
            <a:ext cx="0" cy="313249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5037E8D-AB2D-0D31-73A5-1A0F24177EA4}"/>
              </a:ext>
            </a:extLst>
          </p:cNvPr>
          <p:cNvCxnSpPr>
            <a:cxnSpLocks/>
          </p:cNvCxnSpPr>
          <p:nvPr/>
        </p:nvCxnSpPr>
        <p:spPr>
          <a:xfrm flipV="1">
            <a:off x="5865116" y="4660308"/>
            <a:ext cx="0" cy="101335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F00E5366-82D7-4397-EA62-7A8259EC7452}"/>
              </a:ext>
            </a:extLst>
          </p:cNvPr>
          <p:cNvCxnSpPr/>
          <p:nvPr/>
        </p:nvCxnSpPr>
        <p:spPr>
          <a:xfrm flipH="1">
            <a:off x="4172793" y="4660308"/>
            <a:ext cx="169232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65B5E26-9D2F-3352-A946-34D01F4E9498}"/>
              </a:ext>
            </a:extLst>
          </p:cNvPr>
          <p:cNvCxnSpPr>
            <a:cxnSpLocks/>
          </p:cNvCxnSpPr>
          <p:nvPr/>
        </p:nvCxnSpPr>
        <p:spPr>
          <a:xfrm flipH="1">
            <a:off x="3860038" y="2492036"/>
            <a:ext cx="374631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2156771-EFAB-41B9-B55E-1EAD672A0DB0}"/>
              </a:ext>
            </a:extLst>
          </p:cNvPr>
          <p:cNvSpPr txBox="1"/>
          <p:nvPr/>
        </p:nvSpPr>
        <p:spPr>
          <a:xfrm>
            <a:off x="8012363" y="237179"/>
            <a:ext cx="5652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NO</a:t>
            </a:r>
          </a:p>
        </p:txBody>
      </p:sp>
      <p:sp>
        <p:nvSpPr>
          <p:cNvPr id="109" name="TextBox 108">
            <a:extLst>
              <a:ext uri="{FF2B5EF4-FFF2-40B4-BE49-F238E27FC236}">
                <a16:creationId xmlns:a16="http://schemas.microsoft.com/office/drawing/2014/main" id="{BFEB63E1-8091-067A-D817-E99B93DD4BA2}"/>
              </a:ext>
            </a:extLst>
          </p:cNvPr>
          <p:cNvSpPr txBox="1"/>
          <p:nvPr/>
        </p:nvSpPr>
        <p:spPr>
          <a:xfrm>
            <a:off x="4793578" y="4162492"/>
            <a:ext cx="5652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NO</a:t>
            </a:r>
          </a:p>
        </p:txBody>
      </p:sp>
      <p:sp>
        <p:nvSpPr>
          <p:cNvPr id="110" name="TextBox 109">
            <a:extLst>
              <a:ext uri="{FF2B5EF4-FFF2-40B4-BE49-F238E27FC236}">
                <a16:creationId xmlns:a16="http://schemas.microsoft.com/office/drawing/2014/main" id="{F82D97BD-43FE-C7BB-B732-3D11616DFB55}"/>
              </a:ext>
            </a:extLst>
          </p:cNvPr>
          <p:cNvSpPr txBox="1"/>
          <p:nvPr/>
        </p:nvSpPr>
        <p:spPr>
          <a:xfrm>
            <a:off x="2558978" y="5787037"/>
            <a:ext cx="5652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YES</a:t>
            </a:r>
          </a:p>
        </p:txBody>
      </p:sp>
      <p:sp>
        <p:nvSpPr>
          <p:cNvPr id="111" name="TextBox 110">
            <a:extLst>
              <a:ext uri="{FF2B5EF4-FFF2-40B4-BE49-F238E27FC236}">
                <a16:creationId xmlns:a16="http://schemas.microsoft.com/office/drawing/2014/main" id="{5E3DD44B-101D-0D0E-D52E-8253E3ACB651}"/>
              </a:ext>
            </a:extLst>
          </p:cNvPr>
          <p:cNvSpPr txBox="1"/>
          <p:nvPr/>
        </p:nvSpPr>
        <p:spPr>
          <a:xfrm>
            <a:off x="6685173" y="1729007"/>
            <a:ext cx="5652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YES</a:t>
            </a:r>
          </a:p>
        </p:txBody>
      </p:sp>
      <p:sp>
        <p:nvSpPr>
          <p:cNvPr id="112" name="TextBox 111">
            <a:extLst>
              <a:ext uri="{FF2B5EF4-FFF2-40B4-BE49-F238E27FC236}">
                <a16:creationId xmlns:a16="http://schemas.microsoft.com/office/drawing/2014/main" id="{3B4E0B59-052B-6D93-771F-0E7812E1FCAF}"/>
              </a:ext>
            </a:extLst>
          </p:cNvPr>
          <p:cNvSpPr txBox="1"/>
          <p:nvPr/>
        </p:nvSpPr>
        <p:spPr>
          <a:xfrm>
            <a:off x="9723502" y="1738773"/>
            <a:ext cx="7426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Data</a:t>
            </a:r>
          </a:p>
        </p:txBody>
      </p:sp>
      <p:sp>
        <p:nvSpPr>
          <p:cNvPr id="115" name="TextBox 114">
            <a:extLst>
              <a:ext uri="{FF2B5EF4-FFF2-40B4-BE49-F238E27FC236}">
                <a16:creationId xmlns:a16="http://schemas.microsoft.com/office/drawing/2014/main" id="{922210DA-733E-59FC-1ABB-F9B4A569A263}"/>
              </a:ext>
            </a:extLst>
          </p:cNvPr>
          <p:cNvSpPr txBox="1"/>
          <p:nvPr/>
        </p:nvSpPr>
        <p:spPr>
          <a:xfrm rot="5400000">
            <a:off x="517878" y="2437619"/>
            <a:ext cx="156864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1" u="none" strike="noStrike" kern="1200" cap="none" spc="0" normalizeH="0" baseline="0" noProof="0" dirty="0">
                <a:ln>
                  <a:noFill/>
                </a:ln>
                <a:solidFill>
                  <a:srgbClr val="FFFFFF"/>
                </a:solidFill>
                <a:effectLst/>
                <a:uLnTx/>
                <a:uFillTx/>
                <a:latin typeface="Calibri"/>
                <a:ea typeface="+mn-ea"/>
                <a:cs typeface="+mn-cs"/>
              </a:rPr>
              <a:t>Recommend Low Risk Products</a:t>
            </a:r>
          </a:p>
        </p:txBody>
      </p:sp>
      <p:cxnSp>
        <p:nvCxnSpPr>
          <p:cNvPr id="6" name="Straight Arrow Connector 5">
            <a:extLst>
              <a:ext uri="{FF2B5EF4-FFF2-40B4-BE49-F238E27FC236}">
                <a16:creationId xmlns:a16="http://schemas.microsoft.com/office/drawing/2014/main" id="{72B1FB6E-4F84-E19F-C6E1-6F0F38768397}"/>
              </a:ext>
            </a:extLst>
          </p:cNvPr>
          <p:cNvCxnSpPr>
            <a:cxnSpLocks/>
          </p:cNvCxnSpPr>
          <p:nvPr/>
        </p:nvCxnSpPr>
        <p:spPr>
          <a:xfrm>
            <a:off x="3857760" y="2492036"/>
            <a:ext cx="2278" cy="138253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1D7FF22-D7C9-8CE6-0931-4C3771AD4EEC}"/>
              </a:ext>
            </a:extLst>
          </p:cNvPr>
          <p:cNvSpPr txBox="1"/>
          <p:nvPr/>
        </p:nvSpPr>
        <p:spPr>
          <a:xfrm>
            <a:off x="4361634" y="2160698"/>
            <a:ext cx="26874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Product recommender data</a:t>
            </a:r>
          </a:p>
        </p:txBody>
      </p:sp>
      <p:cxnSp>
        <p:nvCxnSpPr>
          <p:cNvPr id="25" name="Straight Connector 24">
            <a:extLst>
              <a:ext uri="{FF2B5EF4-FFF2-40B4-BE49-F238E27FC236}">
                <a16:creationId xmlns:a16="http://schemas.microsoft.com/office/drawing/2014/main" id="{968C6EE0-B027-8A80-EBEA-2C51BF31D5A6}"/>
              </a:ext>
            </a:extLst>
          </p:cNvPr>
          <p:cNvCxnSpPr/>
          <p:nvPr/>
        </p:nvCxnSpPr>
        <p:spPr>
          <a:xfrm flipH="1">
            <a:off x="625890" y="6230582"/>
            <a:ext cx="3987053"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476D5F2-AF39-9AA8-A301-7F182A0628F8}"/>
              </a:ext>
            </a:extLst>
          </p:cNvPr>
          <p:cNvCxnSpPr/>
          <p:nvPr/>
        </p:nvCxnSpPr>
        <p:spPr>
          <a:xfrm flipV="1">
            <a:off x="614149" y="1154154"/>
            <a:ext cx="0" cy="509520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59CD435-364F-A58D-1503-EC2627D295DC}"/>
              </a:ext>
            </a:extLst>
          </p:cNvPr>
          <p:cNvSpPr txBox="1"/>
          <p:nvPr/>
        </p:nvSpPr>
        <p:spPr>
          <a:xfrm>
            <a:off x="350304" y="606401"/>
            <a:ext cx="95876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1200" cap="none" spc="0" normalizeH="0" baseline="0" noProof="0" dirty="0">
                <a:ln>
                  <a:noFill/>
                </a:ln>
                <a:solidFill>
                  <a:srgbClr val="FFFFFF"/>
                </a:solidFill>
                <a:effectLst/>
                <a:uLnTx/>
                <a:uFillTx/>
                <a:latin typeface="Calibri"/>
                <a:ea typeface="+mn-ea"/>
                <a:cs typeface="+mn-cs"/>
              </a:rPr>
              <a:t>User</a:t>
            </a:r>
          </a:p>
        </p:txBody>
      </p:sp>
    </p:spTree>
    <p:extLst>
      <p:ext uri="{BB962C8B-B14F-4D97-AF65-F5344CB8AC3E}">
        <p14:creationId xmlns:p14="http://schemas.microsoft.com/office/powerpoint/2010/main" val="32539211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879D71-6418-48EB-9AD9-9BCA34542E4E}"/>
              </a:ext>
            </a:extLst>
          </p:cNvPr>
          <p:cNvSpPr>
            <a:spLocks noGrp="1"/>
          </p:cNvSpPr>
          <p:nvPr>
            <p:ph type="title"/>
          </p:nvPr>
        </p:nvSpPr>
        <p:spPr/>
        <p:txBody>
          <a:bodyPr/>
          <a:lstStyle/>
          <a:p>
            <a:r>
              <a:rPr lang="en-US" dirty="0"/>
              <a:t>Process Flow</a:t>
            </a:r>
          </a:p>
        </p:txBody>
      </p:sp>
      <p:sp>
        <p:nvSpPr>
          <p:cNvPr id="8" name="Content Placeholder 7">
            <a:extLst>
              <a:ext uri="{FF2B5EF4-FFF2-40B4-BE49-F238E27FC236}">
                <a16:creationId xmlns:a16="http://schemas.microsoft.com/office/drawing/2014/main" id="{0CEF8EA1-FDA7-4C71-A59B-B435CBDA6288}"/>
              </a:ext>
            </a:extLst>
          </p:cNvPr>
          <p:cNvSpPr>
            <a:spLocks noGrp="1"/>
          </p:cNvSpPr>
          <p:nvPr>
            <p:ph idx="1"/>
          </p:nvPr>
        </p:nvSpPr>
        <p:spPr>
          <a:xfrm>
            <a:off x="457201" y="1001490"/>
            <a:ext cx="11342914" cy="5606140"/>
          </a:xfrm>
        </p:spPr>
        <p:txBody>
          <a:bodyPr/>
          <a:lstStyle/>
          <a:p>
            <a:pPr lvl="0"/>
            <a:r>
              <a:rPr lang="en-US" sz="2000" dirty="0">
                <a:latin typeface="Calibri (Body)"/>
              </a:rPr>
              <a:t>The Process Flow  is as follows:</a:t>
            </a:r>
          </a:p>
          <a:p>
            <a:pPr lvl="0"/>
            <a:endParaRPr lang="en-US" sz="1800" dirty="0">
              <a:latin typeface="Calibri (Body)"/>
            </a:endParaRPr>
          </a:p>
          <a:p>
            <a:pPr marL="285750" lvl="0" indent="-285750">
              <a:buFont typeface="Wingdings" panose="05000000000000000000" pitchFamily="2" charset="2"/>
              <a:buChar char="Ø"/>
            </a:pPr>
            <a:r>
              <a:rPr lang="en-US" sz="2000" dirty="0">
                <a:latin typeface="Calibri (Body)"/>
              </a:rPr>
              <a:t>User Interacts with Chat bot and the chatbot should respond to the query of the User.</a:t>
            </a:r>
          </a:p>
          <a:p>
            <a:pPr marL="285750" lvl="0" indent="-285750">
              <a:buFont typeface="Wingdings" panose="05000000000000000000" pitchFamily="2" charset="2"/>
              <a:buChar char="Ø"/>
            </a:pPr>
            <a:r>
              <a:rPr lang="en-US" sz="2000" dirty="0">
                <a:latin typeface="Calibri (Body)"/>
              </a:rPr>
              <a:t>If the user is existing customer, the chatbot should fetch the data in the data source and provide the data to Machine learning model and model should predict  the loan decision whether it is to be approved or rejected  based on the model.</a:t>
            </a:r>
          </a:p>
          <a:p>
            <a:pPr marL="285750" lvl="0" indent="-285750">
              <a:buFont typeface="Wingdings" panose="05000000000000000000" pitchFamily="2" charset="2"/>
              <a:buChar char="Ø"/>
            </a:pPr>
            <a:r>
              <a:rPr lang="en-US" sz="2000" dirty="0">
                <a:latin typeface="Calibri (Body)"/>
              </a:rPr>
              <a:t>If the customer is new ,the chatbot should collect data from the user through onboarding form/web interface/chatbot and provide data to the machine learning model for the loan decision.</a:t>
            </a:r>
          </a:p>
          <a:p>
            <a:pPr marL="285750" lvl="0" indent="-285750">
              <a:buFont typeface="Wingdings" panose="05000000000000000000" pitchFamily="2" charset="2"/>
              <a:buChar char="Ø"/>
            </a:pPr>
            <a:r>
              <a:rPr lang="en-US" sz="2000" dirty="0">
                <a:latin typeface="Calibri (Body)"/>
              </a:rPr>
              <a:t>Build a product recommender system model inline with ML model using recommender data .</a:t>
            </a:r>
          </a:p>
          <a:p>
            <a:pPr marL="285750" lvl="0" indent="-285750">
              <a:buFont typeface="Wingdings" panose="05000000000000000000" pitchFamily="2" charset="2"/>
              <a:buChar char="Ø"/>
            </a:pPr>
            <a:r>
              <a:rPr lang="en-US" sz="2000" dirty="0">
                <a:latin typeface="Calibri (Body)"/>
              </a:rPr>
              <a:t>If the Loan decision is YES ,the user should be notified by the chatbot  and answer the  further steps and recommend the products inline with loan products. </a:t>
            </a:r>
          </a:p>
          <a:p>
            <a:pPr marL="285750" lvl="0" indent="-285750">
              <a:buFont typeface="Wingdings" panose="05000000000000000000" pitchFamily="2" charset="2"/>
              <a:buChar char="Ø"/>
            </a:pPr>
            <a:r>
              <a:rPr lang="en-US" sz="2000" dirty="0">
                <a:latin typeface="Calibri (Body)"/>
              </a:rPr>
              <a:t>If the Loan decision is No , then the bot should recommend the low-risk products like shopping loan or any other to the user which should help in cross sell or upsell.</a:t>
            </a:r>
          </a:p>
        </p:txBody>
      </p:sp>
      <p:cxnSp>
        <p:nvCxnSpPr>
          <p:cNvPr id="2" name="Straight Connector 1">
            <a:extLst>
              <a:ext uri="{FF2B5EF4-FFF2-40B4-BE49-F238E27FC236}">
                <a16:creationId xmlns:a16="http://schemas.microsoft.com/office/drawing/2014/main" id="{D5C0369A-F044-2A4A-05B8-AF16456FCC98}"/>
              </a:ext>
            </a:extLst>
          </p:cNvPr>
          <p:cNvCxnSpPr>
            <a:cxnSpLocks/>
          </p:cNvCxnSpPr>
          <p:nvPr/>
        </p:nvCxnSpPr>
        <p:spPr>
          <a:xfrm>
            <a:off x="542647" y="752023"/>
            <a:ext cx="192841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8132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879D71-6418-48EB-9AD9-9BCA34542E4E}"/>
              </a:ext>
            </a:extLst>
          </p:cNvPr>
          <p:cNvSpPr>
            <a:spLocks noGrp="1"/>
          </p:cNvSpPr>
          <p:nvPr>
            <p:ph type="title"/>
          </p:nvPr>
        </p:nvSpPr>
        <p:spPr/>
        <p:txBody>
          <a:bodyPr/>
          <a:lstStyle/>
          <a:p>
            <a:r>
              <a:rPr lang="en-US" dirty="0"/>
              <a:t>Idea Submission and Registrations</a:t>
            </a:r>
          </a:p>
        </p:txBody>
      </p:sp>
      <p:sp>
        <p:nvSpPr>
          <p:cNvPr id="8" name="Content Placeholder 7">
            <a:extLst>
              <a:ext uri="{FF2B5EF4-FFF2-40B4-BE49-F238E27FC236}">
                <a16:creationId xmlns:a16="http://schemas.microsoft.com/office/drawing/2014/main" id="{0CEF8EA1-FDA7-4C71-A59B-B435CBDA6288}"/>
              </a:ext>
            </a:extLst>
          </p:cNvPr>
          <p:cNvSpPr>
            <a:spLocks noGrp="1"/>
          </p:cNvSpPr>
          <p:nvPr>
            <p:ph idx="1"/>
          </p:nvPr>
        </p:nvSpPr>
        <p:spPr>
          <a:xfrm>
            <a:off x="457201" y="1001490"/>
            <a:ext cx="11342914" cy="5606140"/>
          </a:xfrm>
        </p:spPr>
        <p:txBody>
          <a:bodyPr/>
          <a:lstStyle/>
          <a:p>
            <a:pPr lvl="0"/>
            <a:endParaRPr lang="en-US" sz="2000" dirty="0">
              <a:latin typeface="Calibri (Body)"/>
            </a:endParaRPr>
          </a:p>
          <a:p>
            <a:pPr lvl="0"/>
            <a:endParaRPr lang="en-US" sz="2000" dirty="0">
              <a:latin typeface="Calibri (Body)"/>
            </a:endParaRPr>
          </a:p>
          <a:p>
            <a:pPr lvl="0"/>
            <a:endParaRPr lang="en-US" sz="2000" dirty="0">
              <a:latin typeface="Calibri (Body)"/>
            </a:endParaRPr>
          </a:p>
          <a:p>
            <a:pPr lvl="0"/>
            <a:endParaRPr lang="en-US" sz="2000" dirty="0">
              <a:latin typeface="Calibri (Body)"/>
            </a:endParaRPr>
          </a:p>
          <a:p>
            <a:pPr lvl="0"/>
            <a:endParaRPr lang="en-US" sz="2000" dirty="0">
              <a:latin typeface="Calibri (Body)"/>
            </a:endParaRPr>
          </a:p>
          <a:p>
            <a:pPr lvl="0"/>
            <a:r>
              <a:rPr lang="en-US" sz="2000" dirty="0">
                <a:latin typeface="Calibri (Body)"/>
              </a:rPr>
              <a:t>How to Register?</a:t>
            </a:r>
          </a:p>
          <a:p>
            <a:pPr lvl="0"/>
            <a:r>
              <a:rPr lang="en-US" sz="2000" dirty="0">
                <a:latin typeface="Calibri (Body)"/>
              </a:rPr>
              <a:t>Please visit our Hub page for registration link and all the further details.</a:t>
            </a:r>
          </a:p>
          <a:p>
            <a:pPr marL="457200" lvl="0" indent="-457200">
              <a:lnSpc>
                <a:spcPct val="150000"/>
              </a:lnSpc>
              <a:buFont typeface="Wingdings" panose="05000000000000000000" pitchFamily="2" charset="2"/>
              <a:buChar char="Ø"/>
            </a:pPr>
            <a:r>
              <a:rPr lang="en-US" sz="2000" dirty="0">
                <a:latin typeface="Calibri (Body)"/>
              </a:rPr>
              <a:t>Hub Page:    </a:t>
            </a:r>
            <a:r>
              <a:rPr lang="en-US" sz="2000" dirty="0">
                <a:hlinkClick r:id="rId2"/>
              </a:rPr>
              <a:t>Capco India - </a:t>
            </a:r>
            <a:r>
              <a:rPr lang="en-US" sz="2000" dirty="0" err="1">
                <a:hlinkClick r:id="rId2"/>
              </a:rPr>
              <a:t>CapAnalytics</a:t>
            </a:r>
            <a:r>
              <a:rPr lang="en-US" sz="2000" dirty="0">
                <a:hlinkClick r:id="rId2"/>
              </a:rPr>
              <a:t> Hackathon (sharepoint.com)</a:t>
            </a:r>
            <a:endParaRPr lang="en-US" sz="2000" dirty="0"/>
          </a:p>
          <a:p>
            <a:pPr lvl="0"/>
            <a:r>
              <a:rPr lang="en-US" sz="2000" dirty="0"/>
              <a:t>Note: Registrations are accepted until 31</a:t>
            </a:r>
            <a:r>
              <a:rPr lang="en-US" sz="2000" baseline="30000" dirty="0"/>
              <a:t>st</a:t>
            </a:r>
            <a:r>
              <a:rPr lang="en-US" sz="2000" dirty="0"/>
              <a:t>  August 2023.</a:t>
            </a:r>
          </a:p>
          <a:p>
            <a:pPr lvl="0"/>
            <a:endParaRPr lang="en-US" sz="2000" dirty="0">
              <a:solidFill>
                <a:schemeClr val="accent1"/>
              </a:solidFill>
            </a:endParaRPr>
          </a:p>
          <a:p>
            <a:pPr marL="342900" lvl="0" indent="-342900">
              <a:buFont typeface="Wingdings" panose="05000000000000000000" pitchFamily="2" charset="2"/>
              <a:buChar char="Ø"/>
            </a:pPr>
            <a:r>
              <a:rPr lang="en-US" sz="2000" dirty="0"/>
              <a:t>After registration you need submit your idea where you need to provide details regarding what Tech stack &amp; Platforms you will be using, talk about approach or methodology.</a:t>
            </a:r>
          </a:p>
          <a:p>
            <a:pPr marL="342900" lvl="0" indent="-342900">
              <a:buFont typeface="Wingdings" panose="05000000000000000000" pitchFamily="2" charset="2"/>
              <a:buChar char="Ø"/>
            </a:pPr>
            <a:r>
              <a:rPr lang="en-US" sz="2000" dirty="0"/>
              <a:t>You can submit these details through a form which will be available in same Hub page post August 23</a:t>
            </a:r>
            <a:r>
              <a:rPr lang="en-US" sz="2000" baseline="30000" dirty="0"/>
              <a:t>rd</a:t>
            </a:r>
            <a:r>
              <a:rPr lang="en-US" sz="2000" dirty="0"/>
              <a:t>.</a:t>
            </a:r>
          </a:p>
          <a:p>
            <a:pPr marL="342900" lvl="0" indent="-342900">
              <a:buFont typeface="Wingdings" panose="05000000000000000000" pitchFamily="2" charset="2"/>
              <a:buChar char="Ø"/>
            </a:pPr>
            <a:r>
              <a:rPr lang="en-US" sz="2000" dirty="0"/>
              <a:t>Please use the same email id to submit the idea details, that you have used for registration.</a:t>
            </a:r>
          </a:p>
          <a:p>
            <a:pPr marL="342900" lvl="0" indent="-342900">
              <a:buFont typeface="Wingdings" panose="05000000000000000000" pitchFamily="2" charset="2"/>
              <a:buChar char="Ø"/>
            </a:pPr>
            <a:endParaRPr lang="en-US" sz="2000" dirty="0"/>
          </a:p>
          <a:p>
            <a:pPr lvl="0"/>
            <a:endParaRPr lang="en-US" sz="2000" dirty="0">
              <a:latin typeface="Calibri (Body)"/>
            </a:endParaRPr>
          </a:p>
        </p:txBody>
      </p:sp>
      <p:cxnSp>
        <p:nvCxnSpPr>
          <p:cNvPr id="2" name="Straight Connector 1">
            <a:extLst>
              <a:ext uri="{FF2B5EF4-FFF2-40B4-BE49-F238E27FC236}">
                <a16:creationId xmlns:a16="http://schemas.microsoft.com/office/drawing/2014/main" id="{D5C0369A-F044-2A4A-05B8-AF16456FCC98}"/>
              </a:ext>
            </a:extLst>
          </p:cNvPr>
          <p:cNvCxnSpPr>
            <a:cxnSpLocks/>
          </p:cNvCxnSpPr>
          <p:nvPr/>
        </p:nvCxnSpPr>
        <p:spPr>
          <a:xfrm>
            <a:off x="542647" y="752023"/>
            <a:ext cx="4954639"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2" descr="A blue light in the sky&#10;&#10;Description automatically generated">
            <a:extLst>
              <a:ext uri="{FF2B5EF4-FFF2-40B4-BE49-F238E27FC236}">
                <a16:creationId xmlns:a16="http://schemas.microsoft.com/office/drawing/2014/main" id="{D3B38F26-0C5C-A2A5-B022-70F798DA90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885" y="946991"/>
            <a:ext cx="11342914" cy="1687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2963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8927E81-7379-862A-81C4-32FCA31F0DB1}"/>
              </a:ext>
            </a:extLst>
          </p:cNvPr>
          <p:cNvSpPr txBox="1"/>
          <p:nvPr/>
        </p:nvSpPr>
        <p:spPr>
          <a:xfrm>
            <a:off x="1919785" y="444592"/>
            <a:ext cx="8352429" cy="584775"/>
          </a:xfrm>
          <a:prstGeom prst="rect">
            <a:avLst/>
          </a:prstGeom>
          <a:noFill/>
        </p:spPr>
        <p:txBody>
          <a:bodyPr wrap="square" rtlCol="0">
            <a:spAutoFit/>
          </a:bodyPr>
          <a:lstStyle/>
          <a:p>
            <a:pPr algn="ctr"/>
            <a:r>
              <a:rPr lang="en-US" sz="3200" b="1" dirty="0">
                <a:solidFill>
                  <a:schemeClr val="bg1"/>
                </a:solidFill>
              </a:rPr>
              <a:t>Data Sources &amp; Idea Submission details</a:t>
            </a:r>
            <a:endParaRPr lang="en-IN" sz="3200" b="1" dirty="0">
              <a:solidFill>
                <a:schemeClr val="bg1"/>
              </a:solidFill>
            </a:endParaRPr>
          </a:p>
        </p:txBody>
      </p:sp>
      <p:sp>
        <p:nvSpPr>
          <p:cNvPr id="4" name="TextBox 3">
            <a:extLst>
              <a:ext uri="{FF2B5EF4-FFF2-40B4-BE49-F238E27FC236}">
                <a16:creationId xmlns:a16="http://schemas.microsoft.com/office/drawing/2014/main" id="{F65EE170-2BCA-93D5-7E0B-CFCA7E92AE5B}"/>
              </a:ext>
            </a:extLst>
          </p:cNvPr>
          <p:cNvSpPr txBox="1"/>
          <p:nvPr/>
        </p:nvSpPr>
        <p:spPr>
          <a:xfrm>
            <a:off x="1173707" y="1951629"/>
            <a:ext cx="7938447" cy="4616648"/>
          </a:xfrm>
          <a:prstGeom prst="rect">
            <a:avLst/>
          </a:prstGeom>
          <a:noFill/>
        </p:spPr>
        <p:txBody>
          <a:bodyPr wrap="square" rtlCol="0">
            <a:spAutoFit/>
          </a:bodyPr>
          <a:lstStyle/>
          <a:p>
            <a:pPr algn="l"/>
            <a:r>
              <a:rPr lang="en-IN" sz="3200" b="1" dirty="0">
                <a:solidFill>
                  <a:schemeClr val="bg1"/>
                </a:solidFill>
                <a:hlinkClick r:id="rId2">
                  <a:extLst>
                    <a:ext uri="{A12FA001-AC4F-418D-AE19-62706E023703}">
                      <ahyp:hlinkClr xmlns:ahyp="http://schemas.microsoft.com/office/drawing/2018/hyperlinkcolor" val="tx"/>
                    </a:ext>
                  </a:extLst>
                </a:hlinkClick>
              </a:rPr>
              <a:t>Resources for Use Case</a:t>
            </a:r>
          </a:p>
          <a:p>
            <a:pPr algn="l"/>
            <a:endParaRPr lang="en-IN" sz="3200" b="1" dirty="0">
              <a:solidFill>
                <a:schemeClr val="bg1"/>
              </a:solidFill>
              <a:hlinkClick r:id="rId2">
                <a:extLst>
                  <a:ext uri="{A12FA001-AC4F-418D-AE19-62706E023703}">
                    <ahyp:hlinkClr xmlns:ahyp="http://schemas.microsoft.com/office/drawing/2018/hyperlinkcolor" val="tx"/>
                  </a:ext>
                </a:extLst>
              </a:hlinkClick>
            </a:endParaRPr>
          </a:p>
          <a:p>
            <a:pPr algn="l"/>
            <a:r>
              <a:rPr lang="en-IN" dirty="0">
                <a:solidFill>
                  <a:schemeClr val="bg1"/>
                </a:solidFill>
                <a:hlinkClick r:id="rId2">
                  <a:extLst>
                    <a:ext uri="{A12FA001-AC4F-418D-AE19-62706E023703}">
                      <ahyp:hlinkClr xmlns:ahyp="http://schemas.microsoft.com/office/drawing/2018/hyperlinkcolor" val="tx"/>
                    </a:ext>
                  </a:extLst>
                </a:hlinkClick>
              </a:rPr>
              <a:t>CapAnalytics-Hackathon Resources</a:t>
            </a:r>
            <a:endParaRPr lang="en-IN" dirty="0">
              <a:solidFill>
                <a:schemeClr val="bg1"/>
              </a:solidFill>
            </a:endParaRPr>
          </a:p>
          <a:p>
            <a:pPr algn="l"/>
            <a:endParaRPr lang="en-IN" sz="1400" dirty="0"/>
          </a:p>
          <a:p>
            <a:pPr algn="l"/>
            <a:endParaRPr lang="en-IN" sz="1400" dirty="0"/>
          </a:p>
          <a:p>
            <a:r>
              <a:rPr lang="en-IN" sz="3200" b="1" dirty="0">
                <a:solidFill>
                  <a:schemeClr val="bg1"/>
                </a:solidFill>
              </a:rPr>
              <a:t>Idea Submission : </a:t>
            </a:r>
          </a:p>
          <a:p>
            <a:endParaRPr lang="en-IN" sz="3200" b="1" dirty="0">
              <a:solidFill>
                <a:schemeClr val="bg1"/>
              </a:solidFill>
              <a:hlinkClick r:id="rId3"/>
            </a:endParaRPr>
          </a:p>
          <a:p>
            <a:r>
              <a:rPr lang="en-IN" sz="3200" b="1" dirty="0">
                <a:solidFill>
                  <a:schemeClr val="bg1"/>
                </a:solidFill>
                <a:hlinkClick r:id="rId3"/>
              </a:rPr>
              <a:t>Share point page</a:t>
            </a:r>
            <a:endParaRPr lang="en-IN" sz="3200" b="1" dirty="0">
              <a:solidFill>
                <a:schemeClr val="bg1"/>
              </a:solidFill>
            </a:endParaRPr>
          </a:p>
          <a:p>
            <a:endParaRPr lang="en-IN" sz="3200" b="1" dirty="0">
              <a:solidFill>
                <a:schemeClr val="bg1"/>
              </a:solidFill>
            </a:endParaRPr>
          </a:p>
          <a:p>
            <a:pPr algn="l"/>
            <a:endParaRPr lang="en-IN" sz="1400" dirty="0"/>
          </a:p>
          <a:p>
            <a:pPr algn="l"/>
            <a:endParaRPr lang="en-IN" sz="1400" dirty="0"/>
          </a:p>
          <a:p>
            <a:pPr algn="l"/>
            <a:endParaRPr lang="en-IN" sz="1400" dirty="0"/>
          </a:p>
          <a:p>
            <a:pPr algn="l"/>
            <a:endParaRPr lang="en-IN" sz="1400" dirty="0"/>
          </a:p>
        </p:txBody>
      </p:sp>
    </p:spTree>
    <p:extLst>
      <p:ext uri="{BB962C8B-B14F-4D97-AF65-F5344CB8AC3E}">
        <p14:creationId xmlns:p14="http://schemas.microsoft.com/office/powerpoint/2010/main" val="3599569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879D71-6418-48EB-9AD9-9BCA34542E4E}"/>
              </a:ext>
            </a:extLst>
          </p:cNvPr>
          <p:cNvSpPr>
            <a:spLocks noGrp="1"/>
          </p:cNvSpPr>
          <p:nvPr>
            <p:ph type="title"/>
          </p:nvPr>
        </p:nvSpPr>
        <p:spPr/>
        <p:txBody>
          <a:bodyPr/>
          <a:lstStyle/>
          <a:p>
            <a:pPr algn="ctr"/>
            <a:r>
              <a:rPr lang="en-US" b="1" dirty="0"/>
              <a:t>Evaluation Parameters</a:t>
            </a:r>
          </a:p>
        </p:txBody>
      </p:sp>
      <p:sp>
        <p:nvSpPr>
          <p:cNvPr id="9" name="Text Placeholder 8">
            <a:extLst>
              <a:ext uri="{FF2B5EF4-FFF2-40B4-BE49-F238E27FC236}">
                <a16:creationId xmlns:a16="http://schemas.microsoft.com/office/drawing/2014/main" id="{8943577E-1734-4989-96B3-C66850C0C9F2}"/>
              </a:ext>
            </a:extLst>
          </p:cNvPr>
          <p:cNvSpPr>
            <a:spLocks noGrp="1"/>
          </p:cNvSpPr>
          <p:nvPr>
            <p:ph type="body" sz="quarter" idx="10"/>
          </p:nvPr>
        </p:nvSpPr>
        <p:spPr/>
        <p:txBody>
          <a:bodyPr/>
          <a:lstStyle/>
          <a:p>
            <a:r>
              <a:rPr lang="en-US" dirty="0">
                <a:solidFill>
                  <a:schemeClr val="tx1"/>
                </a:solidFill>
              </a:rPr>
              <a:t>TEAM NAME :  (The Name of the TEAM)</a:t>
            </a:r>
          </a:p>
        </p:txBody>
      </p:sp>
      <p:graphicFrame>
        <p:nvGraphicFramePr>
          <p:cNvPr id="2" name="Table 2">
            <a:extLst>
              <a:ext uri="{FF2B5EF4-FFF2-40B4-BE49-F238E27FC236}">
                <a16:creationId xmlns:a16="http://schemas.microsoft.com/office/drawing/2014/main" id="{6B66BD89-AE6F-45ED-F941-EB095F554CA9}"/>
              </a:ext>
            </a:extLst>
          </p:cNvPr>
          <p:cNvGraphicFramePr>
            <a:graphicFrameLocks noGrp="1"/>
          </p:cNvGraphicFramePr>
          <p:nvPr>
            <p:ph idx="1"/>
            <p:extLst>
              <p:ext uri="{D42A27DB-BD31-4B8C-83A1-F6EECF244321}">
                <p14:modId xmlns:p14="http://schemas.microsoft.com/office/powerpoint/2010/main" val="115280985"/>
              </p:ext>
            </p:extLst>
          </p:nvPr>
        </p:nvGraphicFramePr>
        <p:xfrm>
          <a:off x="542647" y="1609345"/>
          <a:ext cx="5553353" cy="2812994"/>
        </p:xfrm>
        <a:graphic>
          <a:graphicData uri="http://schemas.openxmlformats.org/drawingml/2006/table">
            <a:tbl>
              <a:tblPr firstRow="1" bandRow="1">
                <a:tableStyleId>{00A15C55-8517-42AA-B614-E9B94910E393}</a:tableStyleId>
              </a:tblPr>
              <a:tblGrid>
                <a:gridCol w="5553353">
                  <a:extLst>
                    <a:ext uri="{9D8B030D-6E8A-4147-A177-3AD203B41FA5}">
                      <a16:colId xmlns:a16="http://schemas.microsoft.com/office/drawing/2014/main" val="3362320358"/>
                    </a:ext>
                  </a:extLst>
                </a:gridCol>
              </a:tblGrid>
              <a:tr h="542245">
                <a:tc>
                  <a:txBody>
                    <a:bodyPr/>
                    <a:lstStyle/>
                    <a:p>
                      <a:pPr algn="ctr"/>
                      <a:r>
                        <a:rPr lang="en-US" dirty="0"/>
                        <a:t>Chat Bot &amp; Web interface (Front End)</a:t>
                      </a:r>
                    </a:p>
                  </a:txBody>
                  <a:tcPr/>
                </a:tc>
                <a:extLst>
                  <a:ext uri="{0D108BD9-81ED-4DB2-BD59-A6C34878D82A}">
                    <a16:rowId xmlns:a16="http://schemas.microsoft.com/office/drawing/2014/main" val="469308016"/>
                  </a:ext>
                </a:extLst>
              </a:tr>
              <a:tr h="401267">
                <a:tc>
                  <a:txBody>
                    <a:bodyPr/>
                    <a:lstStyle/>
                    <a:p>
                      <a:r>
                        <a:rPr lang="en-US" dirty="0"/>
                        <a:t>1. Chatbot Simplicity &amp; Genericness</a:t>
                      </a:r>
                    </a:p>
                  </a:txBody>
                  <a:tcPr/>
                </a:tc>
                <a:extLst>
                  <a:ext uri="{0D108BD9-81ED-4DB2-BD59-A6C34878D82A}">
                    <a16:rowId xmlns:a16="http://schemas.microsoft.com/office/drawing/2014/main" val="3185978896"/>
                  </a:ext>
                </a:extLst>
              </a:tr>
              <a:tr h="367764">
                <a:tc>
                  <a:txBody>
                    <a:bodyPr/>
                    <a:lstStyle/>
                    <a:p>
                      <a:r>
                        <a:rPr lang="en-US" dirty="0"/>
                        <a:t>2. Capability of Chatbot to tackle out of scope questions.</a:t>
                      </a:r>
                    </a:p>
                  </a:txBody>
                  <a:tcPr/>
                </a:tc>
                <a:extLst>
                  <a:ext uri="{0D108BD9-81ED-4DB2-BD59-A6C34878D82A}">
                    <a16:rowId xmlns:a16="http://schemas.microsoft.com/office/drawing/2014/main" val="3765255058"/>
                  </a:ext>
                </a:extLst>
              </a:tr>
              <a:tr h="320642">
                <a:tc>
                  <a:txBody>
                    <a:bodyPr/>
                    <a:lstStyle/>
                    <a:p>
                      <a:r>
                        <a:rPr lang="en-US" dirty="0"/>
                        <a:t>3. Response time of Chatbot API</a:t>
                      </a:r>
                    </a:p>
                  </a:txBody>
                  <a:tcPr/>
                </a:tc>
                <a:extLst>
                  <a:ext uri="{0D108BD9-81ED-4DB2-BD59-A6C34878D82A}">
                    <a16:rowId xmlns:a16="http://schemas.microsoft.com/office/drawing/2014/main" val="213343281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Interactive ness of chatbot</a:t>
                      </a:r>
                    </a:p>
                  </a:txBody>
                  <a:tcPr/>
                </a:tc>
                <a:extLst>
                  <a:ext uri="{0D108BD9-81ED-4DB2-BD59-A6C34878D82A}">
                    <a16:rowId xmlns:a16="http://schemas.microsoft.com/office/drawing/2014/main" val="4262152724"/>
                  </a:ext>
                </a:extLst>
              </a:tr>
              <a:tr h="404438">
                <a:tc>
                  <a:txBody>
                    <a:bodyPr/>
                    <a:lstStyle/>
                    <a:p>
                      <a:r>
                        <a:rPr lang="en-US" dirty="0"/>
                        <a:t>5. Web Interface to present the Model Solution</a:t>
                      </a:r>
                    </a:p>
                  </a:txBody>
                  <a:tcPr/>
                </a:tc>
                <a:extLst>
                  <a:ext uri="{0D108BD9-81ED-4DB2-BD59-A6C34878D82A}">
                    <a16:rowId xmlns:a16="http://schemas.microsoft.com/office/drawing/2014/main" val="1900414380"/>
                  </a:ext>
                </a:extLst>
              </a:tr>
              <a:tr h="235642">
                <a:tc>
                  <a:txBody>
                    <a:bodyPr/>
                    <a:lstStyle/>
                    <a:p>
                      <a:r>
                        <a:rPr lang="en-US" dirty="0"/>
                        <a:t>6. Design , Look and Feel of Chat bot and API</a:t>
                      </a:r>
                    </a:p>
                  </a:txBody>
                  <a:tcPr/>
                </a:tc>
                <a:extLst>
                  <a:ext uri="{0D108BD9-81ED-4DB2-BD59-A6C34878D82A}">
                    <a16:rowId xmlns:a16="http://schemas.microsoft.com/office/drawing/2014/main" val="330196852"/>
                  </a:ext>
                </a:extLst>
              </a:tr>
            </a:tbl>
          </a:graphicData>
        </a:graphic>
      </p:graphicFrame>
      <p:graphicFrame>
        <p:nvGraphicFramePr>
          <p:cNvPr id="3" name="Table 2">
            <a:extLst>
              <a:ext uri="{FF2B5EF4-FFF2-40B4-BE49-F238E27FC236}">
                <a16:creationId xmlns:a16="http://schemas.microsoft.com/office/drawing/2014/main" id="{1E15B4C3-DD14-3D57-C4DC-ECFF4C5475B7}"/>
              </a:ext>
            </a:extLst>
          </p:cNvPr>
          <p:cNvGraphicFramePr>
            <a:graphicFrameLocks/>
          </p:cNvGraphicFramePr>
          <p:nvPr>
            <p:extLst>
              <p:ext uri="{D42A27DB-BD31-4B8C-83A1-F6EECF244321}">
                <p14:modId xmlns:p14="http://schemas.microsoft.com/office/powerpoint/2010/main" val="1884081963"/>
              </p:ext>
            </p:extLst>
          </p:nvPr>
        </p:nvGraphicFramePr>
        <p:xfrm>
          <a:off x="6304864" y="1609345"/>
          <a:ext cx="5718814" cy="2785933"/>
        </p:xfrm>
        <a:graphic>
          <a:graphicData uri="http://schemas.openxmlformats.org/drawingml/2006/table">
            <a:tbl>
              <a:tblPr firstRow="1" bandRow="1">
                <a:tableStyleId>{00A15C55-8517-42AA-B614-E9B94910E393}</a:tableStyleId>
              </a:tblPr>
              <a:tblGrid>
                <a:gridCol w="5718814">
                  <a:extLst>
                    <a:ext uri="{9D8B030D-6E8A-4147-A177-3AD203B41FA5}">
                      <a16:colId xmlns:a16="http://schemas.microsoft.com/office/drawing/2014/main" val="3362320358"/>
                    </a:ext>
                  </a:extLst>
                </a:gridCol>
              </a:tblGrid>
              <a:tr h="446373">
                <a:tc>
                  <a:txBody>
                    <a:bodyPr/>
                    <a:lstStyle/>
                    <a:p>
                      <a:pPr algn="ctr"/>
                      <a:r>
                        <a:rPr lang="en-US" dirty="0"/>
                        <a:t>ML MODEL PERFOMANCE (Back End)</a:t>
                      </a:r>
                    </a:p>
                  </a:txBody>
                  <a:tcPr/>
                </a:tc>
                <a:extLst>
                  <a:ext uri="{0D108BD9-81ED-4DB2-BD59-A6C34878D82A}">
                    <a16:rowId xmlns:a16="http://schemas.microsoft.com/office/drawing/2014/main" val="469308016"/>
                  </a:ext>
                </a:extLst>
              </a:tr>
              <a:tr h="331564">
                <a:tc>
                  <a:txBody>
                    <a:bodyPr/>
                    <a:lstStyle/>
                    <a:p>
                      <a:r>
                        <a:rPr lang="en-US" dirty="0"/>
                        <a:t>1. MODEL ACCURACY </a:t>
                      </a:r>
                    </a:p>
                  </a:txBody>
                  <a:tcPr/>
                </a:tc>
                <a:extLst>
                  <a:ext uri="{0D108BD9-81ED-4DB2-BD59-A6C34878D82A}">
                    <a16:rowId xmlns:a16="http://schemas.microsoft.com/office/drawing/2014/main" val="3185978896"/>
                  </a:ext>
                </a:extLst>
              </a:tr>
              <a:tr h="331564">
                <a:tc>
                  <a:txBody>
                    <a:bodyPr/>
                    <a:lstStyle/>
                    <a:p>
                      <a:r>
                        <a:rPr lang="en-US" dirty="0"/>
                        <a:t>2. PRECISION VALUE</a:t>
                      </a:r>
                    </a:p>
                  </a:txBody>
                  <a:tcPr/>
                </a:tc>
                <a:extLst>
                  <a:ext uri="{0D108BD9-81ED-4DB2-BD59-A6C34878D82A}">
                    <a16:rowId xmlns:a16="http://schemas.microsoft.com/office/drawing/2014/main" val="3765255058"/>
                  </a:ext>
                </a:extLst>
              </a:tr>
              <a:tr h="438260">
                <a:tc>
                  <a:txBody>
                    <a:bodyPr/>
                    <a:lstStyle/>
                    <a:p>
                      <a:r>
                        <a:rPr lang="en-US" dirty="0"/>
                        <a:t>3. F1 SCORE</a:t>
                      </a:r>
                    </a:p>
                  </a:txBody>
                  <a:tcPr/>
                </a:tc>
                <a:extLst>
                  <a:ext uri="{0D108BD9-81ED-4DB2-BD59-A6C34878D82A}">
                    <a16:rowId xmlns:a16="http://schemas.microsoft.com/office/drawing/2014/main" val="2133432811"/>
                  </a:ext>
                </a:extLst>
              </a:tr>
              <a:tr h="3315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RECALL VALUE</a:t>
                      </a:r>
                    </a:p>
                  </a:txBody>
                  <a:tcPr/>
                </a:tc>
                <a:extLst>
                  <a:ext uri="{0D108BD9-81ED-4DB2-BD59-A6C34878D82A}">
                    <a16:rowId xmlns:a16="http://schemas.microsoft.com/office/drawing/2014/main" val="4262152724"/>
                  </a:ext>
                </a:extLst>
              </a:tr>
              <a:tr h="338693">
                <a:tc>
                  <a:txBody>
                    <a:bodyPr/>
                    <a:lstStyle/>
                    <a:p>
                      <a:r>
                        <a:rPr lang="en-US" dirty="0"/>
                        <a:t>5. CONFUSION MATRIX</a:t>
                      </a:r>
                    </a:p>
                  </a:txBody>
                  <a:tcPr/>
                </a:tc>
                <a:extLst>
                  <a:ext uri="{0D108BD9-81ED-4DB2-BD59-A6C34878D82A}">
                    <a16:rowId xmlns:a16="http://schemas.microsoft.com/office/drawing/2014/main" val="2024750877"/>
                  </a:ext>
                </a:extLst>
              </a:tr>
              <a:tr h="438260">
                <a:tc>
                  <a:txBody>
                    <a:bodyPr/>
                    <a:lstStyle/>
                    <a:p>
                      <a:r>
                        <a:rPr lang="en-US" dirty="0"/>
                        <a:t>6. AUC – ROC </a:t>
                      </a:r>
                    </a:p>
                  </a:txBody>
                  <a:tcPr/>
                </a:tc>
                <a:extLst>
                  <a:ext uri="{0D108BD9-81ED-4DB2-BD59-A6C34878D82A}">
                    <a16:rowId xmlns:a16="http://schemas.microsoft.com/office/drawing/2014/main" val="2169843677"/>
                  </a:ext>
                </a:extLst>
              </a:tr>
            </a:tbl>
          </a:graphicData>
        </a:graphic>
      </p:graphicFrame>
      <p:sp>
        <p:nvSpPr>
          <p:cNvPr id="4" name="TextBox 3">
            <a:extLst>
              <a:ext uri="{FF2B5EF4-FFF2-40B4-BE49-F238E27FC236}">
                <a16:creationId xmlns:a16="http://schemas.microsoft.com/office/drawing/2014/main" id="{EEDE4359-84FC-ED31-6FE3-C964A3C096C2}"/>
              </a:ext>
            </a:extLst>
          </p:cNvPr>
          <p:cNvSpPr txBox="1"/>
          <p:nvPr/>
        </p:nvSpPr>
        <p:spPr>
          <a:xfrm>
            <a:off x="1214651" y="5145206"/>
            <a:ext cx="9567080" cy="954107"/>
          </a:xfrm>
          <a:prstGeom prst="rect">
            <a:avLst/>
          </a:prstGeom>
          <a:noFill/>
        </p:spPr>
        <p:txBody>
          <a:bodyPr wrap="square" rtlCol="0">
            <a:spAutoFit/>
          </a:bodyPr>
          <a:lstStyle/>
          <a:p>
            <a:pPr algn="l"/>
            <a:r>
              <a:rPr lang="en-US" sz="1400" dirty="0">
                <a:solidFill>
                  <a:schemeClr val="bg1"/>
                </a:solidFill>
              </a:rPr>
              <a:t>Note: *</a:t>
            </a:r>
          </a:p>
          <a:p>
            <a:pPr marL="342900" indent="-342900" algn="l">
              <a:buFont typeface="+mj-lt"/>
              <a:buAutoNum type="arabicPeriod"/>
            </a:pPr>
            <a:r>
              <a:rPr lang="en-US" sz="1400" dirty="0">
                <a:solidFill>
                  <a:schemeClr val="bg1"/>
                </a:solidFill>
              </a:rPr>
              <a:t>Apart from the above parameters  the EDA steps and approach used to generate the final solution is also one of the important  parameter for final decision of the winners.</a:t>
            </a:r>
          </a:p>
          <a:p>
            <a:pPr marL="342900" indent="-342900" algn="l">
              <a:buFont typeface="+mj-lt"/>
              <a:buAutoNum type="arabicPeriod"/>
            </a:pPr>
            <a:r>
              <a:rPr lang="en-US" sz="1400" dirty="0">
                <a:solidFill>
                  <a:schemeClr val="bg1"/>
                </a:solidFill>
              </a:rPr>
              <a:t>All the above parameters will be having equal weightage for final score.</a:t>
            </a:r>
          </a:p>
        </p:txBody>
      </p:sp>
    </p:spTree>
    <p:extLst>
      <p:ext uri="{BB962C8B-B14F-4D97-AF65-F5344CB8AC3E}">
        <p14:creationId xmlns:p14="http://schemas.microsoft.com/office/powerpoint/2010/main" val="2368922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879D71-6418-48EB-9AD9-9BCA34542E4E}"/>
              </a:ext>
            </a:extLst>
          </p:cNvPr>
          <p:cNvSpPr>
            <a:spLocks noGrp="1"/>
          </p:cNvSpPr>
          <p:nvPr>
            <p:ph type="title"/>
          </p:nvPr>
        </p:nvSpPr>
        <p:spPr/>
        <p:txBody>
          <a:bodyPr/>
          <a:lstStyle/>
          <a:p>
            <a:r>
              <a:rPr lang="en-US" dirty="0"/>
              <a:t>Learning Resources</a:t>
            </a:r>
          </a:p>
        </p:txBody>
      </p:sp>
      <p:sp>
        <p:nvSpPr>
          <p:cNvPr id="8" name="Content Placeholder 7">
            <a:extLst>
              <a:ext uri="{FF2B5EF4-FFF2-40B4-BE49-F238E27FC236}">
                <a16:creationId xmlns:a16="http://schemas.microsoft.com/office/drawing/2014/main" id="{0CEF8EA1-FDA7-4C71-A59B-B435CBDA6288}"/>
              </a:ext>
            </a:extLst>
          </p:cNvPr>
          <p:cNvSpPr>
            <a:spLocks noGrp="1"/>
          </p:cNvSpPr>
          <p:nvPr>
            <p:ph idx="1"/>
          </p:nvPr>
        </p:nvSpPr>
        <p:spPr>
          <a:xfrm>
            <a:off x="457201" y="1001490"/>
            <a:ext cx="11342914" cy="5606140"/>
          </a:xfrm>
        </p:spPr>
        <p:txBody>
          <a:bodyPr/>
          <a:lstStyle/>
          <a:p>
            <a:pPr lvl="0"/>
            <a:r>
              <a:rPr lang="en-US" sz="2000" dirty="0">
                <a:latin typeface="Calibri (Body)"/>
              </a:rPr>
              <a:t>You can follow the links for the learning required:</a:t>
            </a:r>
          </a:p>
          <a:p>
            <a:pPr lvl="0"/>
            <a:endParaRPr lang="en-US" sz="2000" dirty="0">
              <a:latin typeface="Calibri (Body)"/>
            </a:endParaRPr>
          </a:p>
          <a:p>
            <a:pPr marL="342900" lvl="0" indent="-342900">
              <a:buFont typeface="Wingdings" panose="05000000000000000000" pitchFamily="2" charset="2"/>
              <a:buChar char="Ø"/>
            </a:pPr>
            <a:r>
              <a:rPr lang="en-US" sz="2000" dirty="0">
                <a:latin typeface="Calibri (Body)"/>
              </a:rPr>
              <a:t>Python:  </a:t>
            </a:r>
            <a:r>
              <a:rPr lang="en-US" sz="1800" dirty="0">
                <a:hlinkClick r:id="rId2"/>
              </a:rPr>
              <a:t>The Complete Python Bootcamp From Zero to Hero in Python (udemy.com)</a:t>
            </a:r>
            <a:endParaRPr lang="en-US" sz="1800" dirty="0"/>
          </a:p>
          <a:p>
            <a:pPr marL="342900" lvl="0" indent="-342900">
              <a:buFont typeface="Wingdings" panose="05000000000000000000" pitchFamily="2" charset="2"/>
              <a:buChar char="Ø"/>
            </a:pPr>
            <a:r>
              <a:rPr lang="en-US" sz="1800" dirty="0">
                <a:latin typeface="Calibri (Body)"/>
              </a:rPr>
              <a:t>Machine Learning: </a:t>
            </a:r>
            <a:r>
              <a:rPr lang="en-US" sz="1800" dirty="0">
                <a:hlinkClick r:id="rId3"/>
              </a:rPr>
              <a:t>Learn Python for Data Science, Structures, Algorithms, Interviews (udemy.com)</a:t>
            </a:r>
            <a:endParaRPr lang="en-US" sz="1800" dirty="0">
              <a:latin typeface="Calibri (Body)"/>
            </a:endParaRPr>
          </a:p>
          <a:p>
            <a:pPr lvl="0">
              <a:lnSpc>
                <a:spcPct val="150000"/>
              </a:lnSpc>
            </a:pPr>
            <a:r>
              <a:rPr lang="en-US" sz="1800" dirty="0">
                <a:latin typeface="Calibri (Body)"/>
              </a:rPr>
              <a:t>                                        </a:t>
            </a:r>
            <a:r>
              <a:rPr lang="en-US" sz="1800" dirty="0">
                <a:hlinkClick r:id="rId4"/>
              </a:rPr>
              <a:t>Machine Learning A-Z (Python &amp; R in Data Science Course) (udemy.com)</a:t>
            </a:r>
            <a:endParaRPr lang="en-US" sz="1800" dirty="0">
              <a:latin typeface="Calibri (Body)"/>
            </a:endParaRPr>
          </a:p>
          <a:p>
            <a:pPr marL="285750" lvl="0" indent="-285750">
              <a:buFont typeface="Wingdings" panose="05000000000000000000" pitchFamily="2" charset="2"/>
              <a:buChar char="Ø"/>
            </a:pPr>
            <a:r>
              <a:rPr lang="en-US" sz="1800" dirty="0">
                <a:latin typeface="Calibri (Body)"/>
              </a:rPr>
              <a:t>Deep Learning: </a:t>
            </a:r>
            <a:r>
              <a:rPr lang="en-US" sz="1800" dirty="0">
                <a:hlinkClick r:id="rId5"/>
              </a:rPr>
              <a:t>Deep Learning A-Z™: Hands-On Artificial Neural Networks (udemy.com)</a:t>
            </a:r>
            <a:r>
              <a:rPr lang="en-US" sz="1800" dirty="0"/>
              <a:t>\</a:t>
            </a:r>
          </a:p>
          <a:p>
            <a:pPr marL="285750" lvl="0" indent="-285750">
              <a:buFont typeface="Wingdings" panose="05000000000000000000" pitchFamily="2" charset="2"/>
              <a:buChar char="Ø"/>
            </a:pPr>
            <a:r>
              <a:rPr lang="en-US" sz="1800" dirty="0"/>
              <a:t>Natural language processing: </a:t>
            </a:r>
            <a:r>
              <a:rPr lang="en-US" sz="1800" dirty="0">
                <a:hlinkClick r:id="rId6"/>
              </a:rPr>
              <a:t>NLP - Natural Language Processing with Python (udemy.com)</a:t>
            </a:r>
            <a:endParaRPr lang="en-US" sz="1800" dirty="0"/>
          </a:p>
          <a:p>
            <a:pPr marL="285750" lvl="0" indent="-285750">
              <a:buFont typeface="Wingdings" panose="05000000000000000000" pitchFamily="2" charset="2"/>
              <a:buChar char="Ø"/>
            </a:pPr>
            <a:r>
              <a:rPr lang="en-US" sz="1800" dirty="0"/>
              <a:t>Generative AI:  </a:t>
            </a:r>
            <a:r>
              <a:rPr lang="en-US" sz="1800" dirty="0">
                <a:hlinkClick r:id="rId7"/>
              </a:rPr>
              <a:t>https://www.cloudskillsboost.google/journeys/118</a:t>
            </a:r>
            <a:endParaRPr lang="en-US" sz="1800" dirty="0"/>
          </a:p>
          <a:p>
            <a:pPr marL="285750" lvl="0" indent="-285750">
              <a:buFont typeface="Wingdings" panose="05000000000000000000" pitchFamily="2" charset="2"/>
              <a:buChar char="Ø"/>
            </a:pPr>
            <a:r>
              <a:rPr lang="en-US" sz="1800" dirty="0"/>
              <a:t>External Resources :  </a:t>
            </a:r>
            <a:r>
              <a:rPr lang="en-US" sz="1800" dirty="0">
                <a:hlinkClick r:id="rId8"/>
              </a:rPr>
              <a:t>https://www.youtube.com/@krishnaik06/playlists</a:t>
            </a:r>
            <a:endParaRPr lang="en-US" sz="1800" dirty="0"/>
          </a:p>
        </p:txBody>
      </p:sp>
      <p:cxnSp>
        <p:nvCxnSpPr>
          <p:cNvPr id="2" name="Straight Connector 1">
            <a:extLst>
              <a:ext uri="{FF2B5EF4-FFF2-40B4-BE49-F238E27FC236}">
                <a16:creationId xmlns:a16="http://schemas.microsoft.com/office/drawing/2014/main" id="{D5C0369A-F044-2A4A-05B8-AF16456FCC98}"/>
              </a:ext>
            </a:extLst>
          </p:cNvPr>
          <p:cNvCxnSpPr>
            <a:cxnSpLocks/>
          </p:cNvCxnSpPr>
          <p:nvPr/>
        </p:nvCxnSpPr>
        <p:spPr>
          <a:xfrm>
            <a:off x="542647" y="752023"/>
            <a:ext cx="281015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7069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fb00820-03f3-486d-a607-a14c9784a4d9"/>
</p:tagLst>
</file>

<file path=ppt/theme/theme1.xml><?xml version="1.0" encoding="utf-8"?>
<a:theme xmlns:a="http://schemas.openxmlformats.org/drawingml/2006/main" name="Standard Template Short">
  <a:themeElements>
    <a:clrScheme name="Custom 1">
      <a:dk1>
        <a:srgbClr val="000000"/>
      </a:dk1>
      <a:lt1>
        <a:srgbClr val="FFFFFF"/>
      </a:lt1>
      <a:dk2>
        <a:srgbClr val="7F7F7F"/>
      </a:dk2>
      <a:lt2>
        <a:srgbClr val="D8D8D8"/>
      </a:lt2>
      <a:accent1>
        <a:srgbClr val="C00D0D"/>
      </a:accent1>
      <a:accent2>
        <a:srgbClr val="5B5D60"/>
      </a:accent2>
      <a:accent3>
        <a:srgbClr val="3F3F3F"/>
      </a:accent3>
      <a:accent4>
        <a:srgbClr val="005F65"/>
      </a:accent4>
      <a:accent5>
        <a:srgbClr val="00B3BB"/>
      </a:accent5>
      <a:accent6>
        <a:srgbClr val="FDC437"/>
      </a:accent6>
      <a:hlink>
        <a:srgbClr val="009BFF"/>
      </a:hlink>
      <a:folHlink>
        <a:srgbClr val="7F7F7F"/>
      </a:folHlink>
    </a:clrScheme>
    <a:fontScheme name="Capco global">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Capco_global_16x9_template_short_june_2023_v3.potx" id="{1388D472-EB04-4116-B7FD-20680777958D}" vid="{3CCB2D1E-8AB6-4F71-9FD8-4FB1124033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cc1dc27-0b63-4962-bb67-9f96b4919946" xsi:nil="true"/>
    <lcf76f155ced4ddcb4097134ff3c332f xmlns="3ea43be2-5e0c-406a-b04f-143812006a62">
      <Terms xmlns="http://schemas.microsoft.com/office/infopath/2007/PartnerControls"/>
    </lcf76f155ced4ddcb4097134ff3c332f>
    <thumbnail xmlns="3ea43be2-5e0c-406a-b04f-143812006a6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BB00EECAA433F44A32E5ADD0D98B607" ma:contentTypeVersion="17" ma:contentTypeDescription="Umožňuje vytvoriť nový dokument." ma:contentTypeScope="" ma:versionID="46955e015d3644577263f9fa1adb5a1e">
  <xsd:schema xmlns:xsd="http://www.w3.org/2001/XMLSchema" xmlns:xs="http://www.w3.org/2001/XMLSchema" xmlns:p="http://schemas.microsoft.com/office/2006/metadata/properties" xmlns:ns2="3ea43be2-5e0c-406a-b04f-143812006a62" xmlns:ns3="1cc1dc27-0b63-4962-bb67-9f96b4919946" targetNamespace="http://schemas.microsoft.com/office/2006/metadata/properties" ma:root="true" ma:fieldsID="adec0e3814a631907b2f122102588c44" ns2:_="" ns3:_="">
    <xsd:import namespace="3ea43be2-5e0c-406a-b04f-143812006a62"/>
    <xsd:import namespace="1cc1dc27-0b63-4962-bb67-9f96b491994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thumbnai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a43be2-5e0c-406a-b04f-143812006a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Značky obrázka" ma:readOnly="false" ma:fieldId="{5cf76f15-5ced-4ddc-b409-7134ff3c332f}" ma:taxonomyMulti="true" ma:sspId="18306e37-2ff6-40dd-9fb1-708650ca7a10" ma:termSetId="09814cd3-568e-fe90-9814-8d621ff8fb84" ma:anchorId="fba54fb3-c3e1-fe81-a776-ca4b69148c4d" ma:open="true" ma:isKeyword="false">
      <xsd:complexType>
        <xsd:sequence>
          <xsd:element ref="pc:Terms" minOccurs="0" maxOccurs="1"/>
        </xsd:sequence>
      </xsd:complexType>
    </xsd:element>
    <xsd:element name="thumbnail" ma:index="23" nillable="true" ma:displayName="thumbnail" ma:format="Thumbnail" ma:internalName="thumbnail">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cc1dc27-0b63-4962-bb67-9f96b4919946" elementFormDefault="qualified">
    <xsd:import namespace="http://schemas.microsoft.com/office/2006/documentManagement/types"/>
    <xsd:import namespace="http://schemas.microsoft.com/office/infopath/2007/PartnerControls"/>
    <xsd:element name="SharedWithUsers" ma:index="18" nillable="true" ma:displayName="Zdieľa sa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Zdieľané s podrobnosťami" ma:internalName="SharedWithDetails" ma:readOnly="true">
      <xsd:simpleType>
        <xsd:restriction base="dms:Note">
          <xsd:maxLength value="255"/>
        </xsd:restriction>
      </xsd:simpleType>
    </xsd:element>
    <xsd:element name="TaxCatchAll" ma:index="22" nillable="true" ma:displayName="Taxonomy Catch All Column" ma:hidden="true" ma:list="{6dfaec08-5223-45e1-8f67-05fe9f4b028b}" ma:internalName="TaxCatchAll" ma:showField="CatchAllData" ma:web="1cc1dc27-0b63-4962-bb67-9f96b49199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AC2729-16B4-452E-A0BB-1DF94751167C}">
  <ds:schemaRefs>
    <ds:schemaRef ds:uri="http://schemas.microsoft.com/office/2006/metadata/properties"/>
    <ds:schemaRef ds:uri="http://schemas.microsoft.com/office/infopath/2007/PartnerControls"/>
    <ds:schemaRef ds:uri="246d235b-e023-4153-8d86-9ce53fa65473"/>
    <ds:schemaRef ds:uri="1cc1dc27-0b63-4962-bb67-9f96b4919946"/>
    <ds:schemaRef ds:uri="3ea43be2-5e0c-406a-b04f-143812006a62"/>
  </ds:schemaRefs>
</ds:datastoreItem>
</file>

<file path=customXml/itemProps2.xml><?xml version="1.0" encoding="utf-8"?>
<ds:datastoreItem xmlns:ds="http://schemas.openxmlformats.org/officeDocument/2006/customXml" ds:itemID="{5E361DF5-F5AC-4921-9B18-B2EF9A07E3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a43be2-5e0c-406a-b04f-143812006a62"/>
    <ds:schemaRef ds:uri="1cc1dc27-0b63-4962-bb67-9f96b49199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255A0B-18D6-45F6-8797-CD214BB8D56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1781</TotalTime>
  <Words>842</Words>
  <Application>Microsoft Office PowerPoint</Application>
  <PresentationFormat>Widescreen</PresentationFormat>
  <Paragraphs>106</Paragraphs>
  <Slides>11</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vt:i4>
      </vt:variant>
    </vt:vector>
  </HeadingPairs>
  <TitlesOfParts>
    <vt:vector size="19" baseType="lpstr">
      <vt:lpstr>Arial</vt:lpstr>
      <vt:lpstr>Arial Narrow</vt:lpstr>
      <vt:lpstr>Calibri</vt:lpstr>
      <vt:lpstr>Calibri (Body)</vt:lpstr>
      <vt:lpstr>Calibri Light</vt:lpstr>
      <vt:lpstr>Century Gothic</vt:lpstr>
      <vt:lpstr>Wingdings</vt:lpstr>
      <vt:lpstr>Standard Template Short</vt:lpstr>
      <vt:lpstr>HACKATHON BREIFING SESSION</vt:lpstr>
      <vt:lpstr>Topics to be covered </vt:lpstr>
      <vt:lpstr>PowerPoint Presentation</vt:lpstr>
      <vt:lpstr>PowerPoint Presentation</vt:lpstr>
      <vt:lpstr>Process Flow</vt:lpstr>
      <vt:lpstr>Idea Submission and Registrations</vt:lpstr>
      <vt:lpstr>PowerPoint Presentation</vt:lpstr>
      <vt:lpstr>Evaluation Parameters</vt:lpstr>
      <vt:lpstr>Learning Resources</vt:lpstr>
      <vt:lpstr>Q&amp;A Session </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CKATHON SCORE CARD</dc:title>
  <dc:creator>T Chandramouli</dc:creator>
  <cp:lastModifiedBy>Uttkarsh Shukla</cp:lastModifiedBy>
  <cp:revision>13</cp:revision>
  <dcterms:created xsi:type="dcterms:W3CDTF">2023-07-24T09:20:17Z</dcterms:created>
  <dcterms:modified xsi:type="dcterms:W3CDTF">2023-08-22T07: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00EECAA433F44A32E5ADD0D98B607</vt:lpwstr>
  </property>
  <property fmtid="{D5CDD505-2E9C-101B-9397-08002B2CF9AE}" pid="3" name="MediaServiceImageTags">
    <vt:lpwstr/>
  </property>
</Properties>
</file>